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693" r:id="rId6"/>
    <p:sldMasterId id="2147483735" r:id="rId7"/>
    <p:sldMasterId id="2147483747" r:id="rId8"/>
  </p:sldMasterIdLst>
  <p:notesMasterIdLst>
    <p:notesMasterId r:id="rId26"/>
  </p:notesMasterIdLst>
  <p:sldIdLst>
    <p:sldId id="3947" r:id="rId9"/>
    <p:sldId id="838840200" r:id="rId10"/>
    <p:sldId id="2147307523" r:id="rId11"/>
    <p:sldId id="2147307524" r:id="rId12"/>
    <p:sldId id="2147307525" r:id="rId13"/>
    <p:sldId id="2147307526" r:id="rId14"/>
    <p:sldId id="2147307530" r:id="rId15"/>
    <p:sldId id="4096" r:id="rId16"/>
    <p:sldId id="542" r:id="rId17"/>
    <p:sldId id="2147307529" r:id="rId18"/>
    <p:sldId id="2147307520" r:id="rId19"/>
    <p:sldId id="838840204" r:id="rId20"/>
    <p:sldId id="838840203" r:id="rId21"/>
    <p:sldId id="2147307531" r:id="rId22"/>
    <p:sldId id="2147307518" r:id="rId23"/>
    <p:sldId id="838839870" r:id="rId24"/>
    <p:sldId id="49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force" id="{ACE3090A-99D2-4CFE-91D5-8FFF5269FA37}">
          <p14:sldIdLst>
            <p14:sldId id="3947"/>
            <p14:sldId id="838840200"/>
            <p14:sldId id="2147307523"/>
            <p14:sldId id="2147307524"/>
            <p14:sldId id="2147307525"/>
            <p14:sldId id="2147307526"/>
            <p14:sldId id="2147307530"/>
            <p14:sldId id="4096"/>
            <p14:sldId id="542"/>
            <p14:sldId id="2147307529"/>
            <p14:sldId id="2147307520"/>
            <p14:sldId id="838840204"/>
            <p14:sldId id="838840203"/>
            <p14:sldId id="2147307531"/>
            <p14:sldId id="2147307518"/>
            <p14:sldId id="838839870"/>
            <p14:sldId id="49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dro Vaz" initials="PV" lastIdx="16" clrIdx="0">
    <p:extLst>
      <p:ext uri="{19B8F6BF-5375-455C-9EA6-DF929625EA0E}">
        <p15:presenceInfo xmlns:p15="http://schemas.microsoft.com/office/powerpoint/2012/main" userId="S::pedro.vaz@accenture.com::ce26620d-8ffe-4aa6-abd7-19d547ea6f29" providerId="AD"/>
      </p:ext>
    </p:extLst>
  </p:cmAuthor>
  <p:cmAuthor id="2" name="Tyagi, Vikas X." initials="TX" lastIdx="2" clrIdx="1">
    <p:extLst>
      <p:ext uri="{19B8F6BF-5375-455C-9EA6-DF929625EA0E}">
        <p15:presenceInfo xmlns:p15="http://schemas.microsoft.com/office/powerpoint/2012/main" userId="S::vikas.x.tyagi@accenture.com::e6b160a9-e15d-429f-9bb1-3f6b2628b8a8" providerId="AD"/>
      </p:ext>
    </p:extLst>
  </p:cmAuthor>
  <p:cmAuthor id="3" name="Reynolds, Tim" initials="RT" lastIdx="1" clrIdx="2">
    <p:extLst>
      <p:ext uri="{19B8F6BF-5375-455C-9EA6-DF929625EA0E}">
        <p15:presenceInfo xmlns:p15="http://schemas.microsoft.com/office/powerpoint/2012/main" userId="S::tim.reynolds@accenture.com::474805a4-3ae6-42dc-8e53-f2601aee5a34" providerId="AD"/>
      </p:ext>
    </p:extLst>
  </p:cmAuthor>
  <p:cmAuthor id="4" name="Smith3, David" initials="SD" lastIdx="12" clrIdx="3">
    <p:extLst>
      <p:ext uri="{19B8F6BF-5375-455C-9EA6-DF929625EA0E}">
        <p15:presenceInfo xmlns:p15="http://schemas.microsoft.com/office/powerpoint/2012/main" userId="S::David.Smith32@uk.nationalgrid.com::02ddaf5c-1808-4dae-bb4b-7bb85b25d22d" providerId="AD"/>
      </p:ext>
    </p:extLst>
  </p:cmAuthor>
  <p:cmAuthor id="5" name="Bharj, Kam" initials="BK" lastIdx="1" clrIdx="4">
    <p:extLst>
      <p:ext uri="{19B8F6BF-5375-455C-9EA6-DF929625EA0E}">
        <p15:presenceInfo xmlns:p15="http://schemas.microsoft.com/office/powerpoint/2012/main" userId="S::Kam.Bharj@uk.nationalgrid.com::c346c863-01be-4a71-ba36-8d40a81621a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3C32"/>
    <a:srgbClr val="00148C"/>
    <a:srgbClr val="FA4616"/>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568F35-DA38-4EA3-9043-59A811DBF051}" v="4" dt="2021-08-06T20:21:04.5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6B568F35-DA38-4EA3-9043-59A811DBF051}"/>
    <pc:docChg chg="undo custSel addSld delSld modSld modSection">
      <pc:chgData name="Ajwaliya, Nishit" userId="d6171631-3d08-453d-8afd-2dc62a5026e2" providerId="ADAL" clId="{6B568F35-DA38-4EA3-9043-59A811DBF051}" dt="2021-08-06T20:21:04.542" v="9"/>
      <pc:docMkLst>
        <pc:docMk/>
      </pc:docMkLst>
      <pc:sldChg chg="add del">
        <pc:chgData name="Ajwaliya, Nishit" userId="d6171631-3d08-453d-8afd-2dc62a5026e2" providerId="ADAL" clId="{6B568F35-DA38-4EA3-9043-59A811DBF051}" dt="2021-08-06T20:20:59.023" v="5" actId="47"/>
        <pc:sldMkLst>
          <pc:docMk/>
          <pc:sldMk cId="1517717599" sldId="2147307518"/>
        </pc:sldMkLst>
      </pc:sldChg>
      <pc:sldChg chg="addSp delSp modSp add del mod modNotes">
        <pc:chgData name="Ajwaliya, Nishit" userId="d6171631-3d08-453d-8afd-2dc62a5026e2" providerId="ADAL" clId="{6B568F35-DA38-4EA3-9043-59A811DBF051}" dt="2021-08-06T20:21:04.542" v="9"/>
        <pc:sldMkLst>
          <pc:docMk/>
          <pc:sldMk cId="844204529" sldId="2147307532"/>
        </pc:sldMkLst>
        <pc:spChg chg="mod">
          <ac:chgData name="Ajwaliya, Nishit" userId="d6171631-3d08-453d-8afd-2dc62a5026e2" providerId="ADAL" clId="{6B568F35-DA38-4EA3-9043-59A811DBF051}" dt="2021-08-06T20:21:04.320" v="7"/>
          <ac:spMkLst>
            <pc:docMk/>
            <pc:sldMk cId="844204529" sldId="2147307532"/>
            <ac:spMk id="102" creationId="{B9C48391-D516-4B99-9594-2AABB5CA04A0}"/>
          </ac:spMkLst>
        </pc:spChg>
        <pc:spChg chg="add del mod">
          <ac:chgData name="Ajwaliya, Nishit" userId="d6171631-3d08-453d-8afd-2dc62a5026e2" providerId="ADAL" clId="{6B568F35-DA38-4EA3-9043-59A811DBF051}" dt="2021-08-06T20:21:03.847" v="6"/>
          <ac:spMkLst>
            <pc:docMk/>
            <pc:sldMk cId="844204529" sldId="2147307532"/>
            <ac:spMk id="106" creationId="{5BAB29CA-EAEE-4BDB-B62A-A7A3E8EB692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5A27A-6EA2-4247-8810-D750F1BBF5D8}" type="datetimeFigureOut">
              <a:rPr lang="en-GB" smtClean="0"/>
              <a:t>06/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268BE9-0187-4CAA-AA93-9EC207E638B3}" type="slidenum">
              <a:rPr lang="en-GB" smtClean="0"/>
              <a:t>‹#›</a:t>
            </a:fld>
            <a:endParaRPr lang="en-GB"/>
          </a:p>
        </p:txBody>
      </p:sp>
    </p:spTree>
    <p:extLst>
      <p:ext uri="{BB962C8B-B14F-4D97-AF65-F5344CB8AC3E}">
        <p14:creationId xmlns:p14="http://schemas.microsoft.com/office/powerpoint/2010/main" val="740055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268BE9-0187-4CAA-AA93-9EC207E638B3}" type="slidenum">
              <a:rPr lang="en-GB" smtClean="0"/>
              <a:t>3</a:t>
            </a:fld>
            <a:endParaRPr lang="en-GB"/>
          </a:p>
        </p:txBody>
      </p:sp>
    </p:spTree>
    <p:extLst>
      <p:ext uri="{BB962C8B-B14F-4D97-AF65-F5344CB8AC3E}">
        <p14:creationId xmlns:p14="http://schemas.microsoft.com/office/powerpoint/2010/main" val="3234794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268BE9-0187-4CAA-AA93-9EC207E638B3}" type="slidenum">
              <a:rPr lang="en-GB" smtClean="0"/>
              <a:t>6</a:t>
            </a:fld>
            <a:endParaRPr lang="en-GB"/>
          </a:p>
        </p:txBody>
      </p:sp>
    </p:spTree>
    <p:extLst>
      <p:ext uri="{BB962C8B-B14F-4D97-AF65-F5344CB8AC3E}">
        <p14:creationId xmlns:p14="http://schemas.microsoft.com/office/powerpoint/2010/main" val="2081789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268BE9-0187-4CAA-AA93-9EC207E638B3}" type="slidenum">
              <a:rPr lang="en-GB" smtClean="0"/>
              <a:t>7</a:t>
            </a:fld>
            <a:endParaRPr lang="en-GB"/>
          </a:p>
        </p:txBody>
      </p:sp>
    </p:spTree>
    <p:extLst>
      <p:ext uri="{BB962C8B-B14F-4D97-AF65-F5344CB8AC3E}">
        <p14:creationId xmlns:p14="http://schemas.microsoft.com/office/powerpoint/2010/main" val="812757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38268BE9-0187-4CAA-AA93-9EC207E638B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10</a:t>
            </a:fld>
            <a:endParaRPr kumimoji="0" lang="en-GB" sz="1200" b="1" i="0" u="none" strike="noStrike" kern="0" cap="none" spc="0" normalizeH="0" baseline="0" noProof="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812757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268BE9-0187-4CAA-AA93-9EC207E638B3}" type="slidenum">
              <a:rPr lang="en-GB" smtClean="0"/>
              <a:t>13</a:t>
            </a:fld>
            <a:endParaRPr lang="en-GB"/>
          </a:p>
        </p:txBody>
      </p:sp>
    </p:spTree>
    <p:extLst>
      <p:ext uri="{BB962C8B-B14F-4D97-AF65-F5344CB8AC3E}">
        <p14:creationId xmlns:p14="http://schemas.microsoft.com/office/powerpoint/2010/main" val="2506579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268BE9-0187-4CAA-AA93-9EC207E638B3}" type="slidenum">
              <a:rPr lang="en-GB" smtClean="0"/>
              <a:t>14</a:t>
            </a:fld>
            <a:endParaRPr lang="en-GB"/>
          </a:p>
        </p:txBody>
      </p:sp>
    </p:spTree>
    <p:extLst>
      <p:ext uri="{BB962C8B-B14F-4D97-AF65-F5344CB8AC3E}">
        <p14:creationId xmlns:p14="http://schemas.microsoft.com/office/powerpoint/2010/main" val="436406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4429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268BE9-0187-4CAA-AA93-9EC207E638B3}" type="slidenum">
              <a:rPr lang="en-GB" smtClean="0"/>
              <a:t>16</a:t>
            </a:fld>
            <a:endParaRPr lang="en-GB"/>
          </a:p>
        </p:txBody>
      </p:sp>
    </p:spTree>
    <p:extLst>
      <p:ext uri="{BB962C8B-B14F-4D97-AF65-F5344CB8AC3E}">
        <p14:creationId xmlns:p14="http://schemas.microsoft.com/office/powerpoint/2010/main" val="31552826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3528521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1"/>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userDrawn="1"/>
        </p:nvPicPr>
        <p:blipFill>
          <a:blip r:embed="rId2"/>
          <a:stretch>
            <a:fillRect/>
          </a:stretch>
        </p:blipFill>
        <p:spPr>
          <a:xfrm>
            <a:off x="525423" y="6034998"/>
            <a:ext cx="3362896" cy="399029"/>
          </a:xfrm>
          <a:prstGeom prst="rect">
            <a:avLst/>
          </a:prstGeom>
        </p:spPr>
      </p:pic>
    </p:spTree>
    <p:extLst>
      <p:ext uri="{BB962C8B-B14F-4D97-AF65-F5344CB8AC3E}">
        <p14:creationId xmlns:p14="http://schemas.microsoft.com/office/powerpoint/2010/main" val="8064965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547199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Shift+Alt+Right</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Shift+Alt+Left</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14856725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582182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988448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7"/>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08471277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pic>
        <p:nvPicPr>
          <p:cNvPr id="14" name="Picture 13"/>
          <p:cNvPicPr>
            <a:picLocks noChangeAspect="1"/>
          </p:cNvPicPr>
          <p:nvPr userDrawn="1"/>
        </p:nvPicPr>
        <p:blipFill rotWithShape="1">
          <a:blip r:embed="rId4"/>
          <a:srcRect r="23305" b="53486"/>
          <a:stretch/>
        </p:blipFill>
        <p:spPr>
          <a:xfrm>
            <a:off x="5855433" y="2771099"/>
            <a:ext cx="6336569" cy="4086903"/>
          </a:xfrm>
          <a:prstGeom prst="rect">
            <a:avLst/>
          </a:prstGeom>
        </p:spPr>
      </p:pic>
    </p:spTree>
    <p:extLst>
      <p:ext uri="{BB962C8B-B14F-4D97-AF65-F5344CB8AC3E}">
        <p14:creationId xmlns:p14="http://schemas.microsoft.com/office/powerpoint/2010/main" val="369767595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42703646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3" y="141183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3" y="346742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6262073" y="928079"/>
            <a:ext cx="6858000" cy="5001855"/>
          </a:xfrm>
          <a:prstGeom prst="rect">
            <a:avLst/>
          </a:prstGeom>
        </p:spPr>
      </p:pic>
    </p:spTree>
    <p:extLst>
      <p:ext uri="{BB962C8B-B14F-4D97-AF65-F5344CB8AC3E}">
        <p14:creationId xmlns:p14="http://schemas.microsoft.com/office/powerpoint/2010/main" val="329904562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a:p>
        </p:txBody>
      </p:sp>
    </p:spTree>
    <p:extLst>
      <p:ext uri="{BB962C8B-B14F-4D97-AF65-F5344CB8AC3E}">
        <p14:creationId xmlns:p14="http://schemas.microsoft.com/office/powerpoint/2010/main" val="22564712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208415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8" y="3"/>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endParaRPr/>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4"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1"/>
            <a:ext cx="5378452" cy="1157385"/>
          </a:xfrm>
        </p:spPr>
        <p:txBody>
          <a:bodyPr anchor="t" anchorCtr="0"/>
          <a:lstStyle>
            <a:lvl1pPr>
              <a:lnSpc>
                <a:spcPct val="80000"/>
              </a:lnSpc>
              <a:defRPr sz="4268">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403375658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8" y="2909035"/>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srgbClr val="55555A"/>
                </a:buClr>
              </a:pPr>
              <a:endParaRPr lang="en-GB" sz="1800">
                <a:solidFill>
                  <a:srgbClr val="00148C"/>
                </a:solidFill>
              </a:endParaRPr>
            </a:p>
          </p:txBody>
        </p:sp>
      </p:grpSp>
    </p:spTree>
    <p:extLst>
      <p:ext uri="{BB962C8B-B14F-4D97-AF65-F5344CB8AC3E}">
        <p14:creationId xmlns:p14="http://schemas.microsoft.com/office/powerpoint/2010/main" val="41683419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9_Cover">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C8C29B5-0459-44E2-893D-68F8D6DE68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7200" b="0" i="0" baseline="0">
              <a:latin typeface="Graphik Black" panose="020B0A03030202060203" pitchFamily="34" charset="0"/>
              <a:ea typeface="+mj-ea"/>
              <a:cs typeface="+mj-cs"/>
              <a:sym typeface="Graphik Black" panose="020B0A03030202060203" pitchFamily="34" charset="0"/>
            </a:endParaRPr>
          </a:p>
        </p:txBody>
      </p:sp>
      <p:pic>
        <p:nvPicPr>
          <p:cNvPr id="10" name="Picture 2" descr="A picture containing sky, outdoor, water sport, swimming&#10;&#10;Description automatically generated">
            <a:extLst>
              <a:ext uri="{FF2B5EF4-FFF2-40B4-BE49-F238E27FC236}">
                <a16:creationId xmlns:a16="http://schemas.microsoft.com/office/drawing/2014/main" id="{68EADA17-8BD7-4AD0-94C2-B3D8B34FFD1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836" y="-1"/>
            <a:ext cx="12203836" cy="6858001"/>
          </a:xfrm>
          <a:prstGeom prst="rect">
            <a:avLst/>
          </a:prstGeom>
        </p:spPr>
      </p:pic>
      <p:sp>
        <p:nvSpPr>
          <p:cNvPr id="6" name="SubTitle"/>
          <p:cNvSpPr>
            <a:spLocks noGrp="1"/>
          </p:cNvSpPr>
          <p:nvPr userDrawn="1">
            <p:ph type="body" sz="quarter" idx="12" hasCustomPrompt="1"/>
          </p:nvPr>
        </p:nvSpPr>
        <p:spPr>
          <a:xfrm>
            <a:off x="381001" y="5216095"/>
            <a:ext cx="3630930" cy="1041195"/>
          </a:xfrm>
        </p:spPr>
        <p:txBody>
          <a:bodyPr anchor="b"/>
          <a:lstStyle>
            <a:lvl1pPr marL="0" indent="0">
              <a:lnSpc>
                <a:spcPct val="80000"/>
              </a:lnSpc>
              <a:spcBef>
                <a:spcPts val="0"/>
              </a:spcBef>
              <a:spcAft>
                <a:spcPts val="0"/>
              </a:spcAft>
              <a:buNone/>
              <a:defRPr sz="2000" b="0" i="0" cap="all" baseline="0">
                <a:solidFill>
                  <a:schemeClr val="bg1"/>
                </a:solidFill>
                <a:latin typeface="+mj-lt"/>
              </a:defRPr>
            </a:lvl1pPr>
          </a:lstStyle>
          <a:p>
            <a:pPr lvl="0"/>
            <a:r>
              <a:rPr lang="en-US"/>
              <a:t>SUBTITLE LINE</a:t>
            </a:r>
            <a:br>
              <a:rPr lang="en-US"/>
            </a:br>
            <a:r>
              <a:rPr lang="en-US"/>
              <a:t>SECOND LINE</a:t>
            </a:r>
          </a:p>
        </p:txBody>
      </p:sp>
      <p:sp>
        <p:nvSpPr>
          <p:cNvPr id="8" name="MasterTitle"/>
          <p:cNvSpPr>
            <a:spLocks noGrp="1"/>
          </p:cNvSpPr>
          <p:nvPr userDrawn="1">
            <p:ph type="title" hasCustomPrompt="1"/>
          </p:nvPr>
        </p:nvSpPr>
        <p:spPr>
          <a:xfrm>
            <a:off x="381001" y="1798322"/>
            <a:ext cx="5751674" cy="3261358"/>
          </a:xfrm>
        </p:spPr>
        <p:txBody>
          <a:bodyPr lIns="0" tIns="0" rIns="0" bIns="0" anchor="ctr"/>
          <a:lstStyle>
            <a:lvl1pPr>
              <a:lnSpc>
                <a:spcPct val="70000"/>
              </a:lnSpc>
              <a:spcBef>
                <a:spcPts val="0"/>
              </a:spcBef>
              <a:spcAft>
                <a:spcPts val="0"/>
              </a:spcAft>
              <a:defRPr sz="7200" spc="-150" baseline="0">
                <a:solidFill>
                  <a:schemeClr val="bg1"/>
                </a:solidFill>
              </a:defRPr>
            </a:lvl1pPr>
          </a:lstStyle>
          <a:p>
            <a:r>
              <a:rPr lang="en-US"/>
              <a:t>This is a</a:t>
            </a:r>
            <a:br>
              <a:rPr lang="en-US"/>
            </a:br>
            <a:r>
              <a:rPr lang="en-US"/>
              <a:t>Headline</a:t>
            </a:r>
            <a:br>
              <a:rPr lang="en-US"/>
            </a:br>
            <a:r>
              <a:rPr lang="en-US"/>
              <a:t>This is a Subhead</a:t>
            </a:r>
            <a:endParaRPr lang="en-AU"/>
          </a:p>
        </p:txBody>
      </p:sp>
      <p:grpSp>
        <p:nvGrpSpPr>
          <p:cNvPr id="11" name="Group 4">
            <a:extLst>
              <a:ext uri="{FF2B5EF4-FFF2-40B4-BE49-F238E27FC236}">
                <a16:creationId xmlns:a16="http://schemas.microsoft.com/office/drawing/2014/main" id="{B5B98C87-D6DD-4595-B803-BF96BBC33CCC}"/>
              </a:ext>
            </a:extLst>
          </p:cNvPr>
          <p:cNvGrpSpPr>
            <a:grpSpLocks noChangeAspect="1"/>
          </p:cNvGrpSpPr>
          <p:nvPr userDrawn="1"/>
        </p:nvGrpSpPr>
        <p:grpSpPr bwMode="auto">
          <a:xfrm>
            <a:off x="9813155" y="381000"/>
            <a:ext cx="2006425" cy="528825"/>
            <a:chOff x="217" y="3941"/>
            <a:chExt cx="645" cy="170"/>
          </a:xfrm>
          <a:solidFill>
            <a:schemeClr val="bg1"/>
          </a:solidFill>
        </p:grpSpPr>
        <p:sp>
          <p:nvSpPr>
            <p:cNvPr id="14" name="Freeform 6">
              <a:extLst>
                <a:ext uri="{FF2B5EF4-FFF2-40B4-BE49-F238E27FC236}">
                  <a16:creationId xmlns:a16="http://schemas.microsoft.com/office/drawing/2014/main" id="{6E3F49AE-1B53-455E-8566-60AA2FC40451}"/>
                </a:ext>
              </a:extLst>
            </p:cNvPr>
            <p:cNvSpPr>
              <a:spLocks/>
            </p:cNvSpPr>
            <p:nvPr userDrawn="1"/>
          </p:nvSpPr>
          <p:spPr bwMode="auto">
            <a:xfrm>
              <a:off x="593" y="3941"/>
              <a:ext cx="63" cy="67"/>
            </a:xfrm>
            <a:custGeom>
              <a:avLst/>
              <a:gdLst>
                <a:gd name="T0" fmla="*/ 0 w 382"/>
                <a:gd name="T1" fmla="*/ 0 h 405"/>
                <a:gd name="T2" fmla="*/ 0 w 382"/>
                <a:gd name="T3" fmla="*/ 0 h 405"/>
                <a:gd name="T4" fmla="*/ 382 w 382"/>
                <a:gd name="T5" fmla="*/ 155 h 405"/>
                <a:gd name="T6" fmla="*/ 382 w 382"/>
                <a:gd name="T7" fmla="*/ 251 h 405"/>
                <a:gd name="T8" fmla="*/ 0 w 382"/>
                <a:gd name="T9" fmla="*/ 405 h 405"/>
                <a:gd name="T10" fmla="*/ 0 w 382"/>
                <a:gd name="T11" fmla="*/ 286 h 405"/>
                <a:gd name="T12" fmla="*/ 223 w 382"/>
                <a:gd name="T13" fmla="*/ 203 h 405"/>
                <a:gd name="T14" fmla="*/ 0 w 382"/>
                <a:gd name="T15" fmla="*/ 116 h 405"/>
                <a:gd name="T16" fmla="*/ 0 w 382"/>
                <a:gd name="T17"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405">
                  <a:moveTo>
                    <a:pt x="0" y="0"/>
                  </a:moveTo>
                  <a:lnTo>
                    <a:pt x="0" y="0"/>
                  </a:lnTo>
                  <a:lnTo>
                    <a:pt x="382" y="155"/>
                  </a:lnTo>
                  <a:lnTo>
                    <a:pt x="382" y="251"/>
                  </a:lnTo>
                  <a:lnTo>
                    <a:pt x="0" y="405"/>
                  </a:lnTo>
                  <a:lnTo>
                    <a:pt x="0" y="286"/>
                  </a:lnTo>
                  <a:lnTo>
                    <a:pt x="223" y="203"/>
                  </a:lnTo>
                  <a:lnTo>
                    <a:pt x="0" y="1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AB6B5F75-01DA-4901-AD9D-7C6B0F3B9C3F}"/>
                </a:ext>
              </a:extLst>
            </p:cNvPr>
            <p:cNvSpPr>
              <a:spLocks noEditPoints="1"/>
            </p:cNvSpPr>
            <p:nvPr userDrawn="1"/>
          </p:nvSpPr>
          <p:spPr bwMode="auto">
            <a:xfrm>
              <a:off x="217" y="4012"/>
              <a:ext cx="645" cy="99"/>
            </a:xfrm>
            <a:custGeom>
              <a:avLst/>
              <a:gdLst>
                <a:gd name="T0" fmla="*/ 125 w 3869"/>
                <a:gd name="T1" fmla="*/ 467 h 592"/>
                <a:gd name="T2" fmla="*/ 247 w 3869"/>
                <a:gd name="T3" fmla="*/ 481 h 592"/>
                <a:gd name="T4" fmla="*/ 3618 w 3869"/>
                <a:gd name="T5" fmla="*/ 227 h 592"/>
                <a:gd name="T6" fmla="*/ 3718 w 3869"/>
                <a:gd name="T7" fmla="*/ 230 h 592"/>
                <a:gd name="T8" fmla="*/ 1532 w 3869"/>
                <a:gd name="T9" fmla="*/ 257 h 592"/>
                <a:gd name="T10" fmla="*/ 1622 w 3869"/>
                <a:gd name="T11" fmla="*/ 215 h 592"/>
                <a:gd name="T12" fmla="*/ 2841 w 3869"/>
                <a:gd name="T13" fmla="*/ 492 h 592"/>
                <a:gd name="T14" fmla="*/ 2940 w 3869"/>
                <a:gd name="T15" fmla="*/ 135 h 592"/>
                <a:gd name="T16" fmla="*/ 2861 w 3869"/>
                <a:gd name="T17" fmla="*/ 584 h 592"/>
                <a:gd name="T18" fmla="*/ 2679 w 3869"/>
                <a:gd name="T19" fmla="*/ 500 h 592"/>
                <a:gd name="T20" fmla="*/ 3314 w 3869"/>
                <a:gd name="T21" fmla="*/ 275 h 592"/>
                <a:gd name="T22" fmla="*/ 3279 w 3869"/>
                <a:gd name="T23" fmla="*/ 217 h 592"/>
                <a:gd name="T24" fmla="*/ 3723 w 3869"/>
                <a:gd name="T25" fmla="*/ 132 h 592"/>
                <a:gd name="T26" fmla="*/ 3869 w 3869"/>
                <a:gd name="T27" fmla="*/ 336 h 592"/>
                <a:gd name="T28" fmla="*/ 3652 w 3869"/>
                <a:gd name="T29" fmla="*/ 500 h 592"/>
                <a:gd name="T30" fmla="*/ 3862 w 3869"/>
                <a:gd name="T31" fmla="*/ 470 h 592"/>
                <a:gd name="T32" fmla="*/ 3635 w 3869"/>
                <a:gd name="T33" fmla="*/ 590 h 592"/>
                <a:gd name="T34" fmla="*/ 3454 w 3869"/>
                <a:gd name="T35" fmla="*/ 404 h 592"/>
                <a:gd name="T36" fmla="*/ 3548 w 3869"/>
                <a:gd name="T37" fmla="*/ 158 h 592"/>
                <a:gd name="T38" fmla="*/ 2230 w 3869"/>
                <a:gd name="T39" fmla="*/ 156 h 592"/>
                <a:gd name="T40" fmla="*/ 2150 w 3869"/>
                <a:gd name="T41" fmla="*/ 278 h 592"/>
                <a:gd name="T42" fmla="*/ 2024 w 3869"/>
                <a:gd name="T43" fmla="*/ 253 h 592"/>
                <a:gd name="T44" fmla="*/ 2017 w 3869"/>
                <a:gd name="T45" fmla="*/ 185 h 592"/>
                <a:gd name="T46" fmla="*/ 1659 w 3869"/>
                <a:gd name="T47" fmla="*/ 132 h 592"/>
                <a:gd name="T48" fmla="*/ 1805 w 3869"/>
                <a:gd name="T49" fmla="*/ 336 h 592"/>
                <a:gd name="T50" fmla="*/ 1588 w 3869"/>
                <a:gd name="T51" fmla="*/ 500 h 592"/>
                <a:gd name="T52" fmla="*/ 1798 w 3869"/>
                <a:gd name="T53" fmla="*/ 470 h 592"/>
                <a:gd name="T54" fmla="*/ 1572 w 3869"/>
                <a:gd name="T55" fmla="*/ 590 h 592"/>
                <a:gd name="T56" fmla="*/ 1390 w 3869"/>
                <a:gd name="T57" fmla="*/ 404 h 592"/>
                <a:gd name="T58" fmla="*/ 1485 w 3869"/>
                <a:gd name="T59" fmla="*/ 158 h 592"/>
                <a:gd name="T60" fmla="*/ 1248 w 3869"/>
                <a:gd name="T61" fmla="*/ 152 h 592"/>
                <a:gd name="T62" fmla="*/ 1202 w 3869"/>
                <a:gd name="T63" fmla="*/ 256 h 592"/>
                <a:gd name="T64" fmla="*/ 1066 w 3869"/>
                <a:gd name="T65" fmla="*/ 272 h 592"/>
                <a:gd name="T66" fmla="*/ 1087 w 3869"/>
                <a:gd name="T67" fmla="*/ 480 h 592"/>
                <a:gd name="T68" fmla="*/ 1223 w 3869"/>
                <a:gd name="T69" fmla="*/ 417 h 592"/>
                <a:gd name="T70" fmla="*/ 1176 w 3869"/>
                <a:gd name="T71" fmla="*/ 588 h 592"/>
                <a:gd name="T72" fmla="*/ 944 w 3869"/>
                <a:gd name="T73" fmla="*/ 470 h 592"/>
                <a:gd name="T74" fmla="*/ 977 w 3869"/>
                <a:gd name="T75" fmla="*/ 196 h 592"/>
                <a:gd name="T76" fmla="*/ 733 w 3869"/>
                <a:gd name="T77" fmla="*/ 132 h 592"/>
                <a:gd name="T78" fmla="*/ 751 w 3869"/>
                <a:gd name="T79" fmla="*/ 295 h 592"/>
                <a:gd name="T80" fmla="*/ 626 w 3869"/>
                <a:gd name="T81" fmla="*/ 240 h 592"/>
                <a:gd name="T82" fmla="*/ 601 w 3869"/>
                <a:gd name="T83" fmla="*/ 448 h 592"/>
                <a:gd name="T84" fmla="*/ 745 w 3869"/>
                <a:gd name="T85" fmla="*/ 460 h 592"/>
                <a:gd name="T86" fmla="*/ 776 w 3869"/>
                <a:gd name="T87" fmla="*/ 570 h 592"/>
                <a:gd name="T88" fmla="*/ 510 w 3869"/>
                <a:gd name="T89" fmla="*/ 524 h 592"/>
                <a:gd name="T90" fmla="*/ 480 w 3869"/>
                <a:gd name="T91" fmla="*/ 250 h 592"/>
                <a:gd name="T92" fmla="*/ 206 w 3869"/>
                <a:gd name="T93" fmla="*/ 126 h 592"/>
                <a:gd name="T94" fmla="*/ 389 w 3869"/>
                <a:gd name="T95" fmla="*/ 252 h 592"/>
                <a:gd name="T96" fmla="*/ 176 w 3869"/>
                <a:gd name="T97" fmla="*/ 590 h 592"/>
                <a:gd name="T98" fmla="*/ 2 w 3869"/>
                <a:gd name="T99" fmla="*/ 488 h 592"/>
                <a:gd name="T100" fmla="*/ 97 w 3869"/>
                <a:gd name="T101" fmla="*/ 325 h 592"/>
                <a:gd name="T102" fmla="*/ 251 w 3869"/>
                <a:gd name="T103" fmla="*/ 235 h 592"/>
                <a:gd name="T104" fmla="*/ 133 w 3869"/>
                <a:gd name="T105" fmla="*/ 273 h 592"/>
                <a:gd name="T106" fmla="*/ 172 w 3869"/>
                <a:gd name="T107" fmla="*/ 127 h 592"/>
                <a:gd name="T108" fmla="*/ 2517 w 3869"/>
                <a:gd name="T109" fmla="*/ 472 h 592"/>
                <a:gd name="T110" fmla="*/ 2555 w 3869"/>
                <a:gd name="T111" fmla="*/ 587 h 592"/>
                <a:gd name="T112" fmla="*/ 2383 w 3869"/>
                <a:gd name="T113" fmla="*/ 453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69" h="592">
                  <a:moveTo>
                    <a:pt x="217" y="390"/>
                  </a:moveTo>
                  <a:lnTo>
                    <a:pt x="189" y="393"/>
                  </a:lnTo>
                  <a:lnTo>
                    <a:pt x="165" y="397"/>
                  </a:lnTo>
                  <a:lnTo>
                    <a:pt x="147" y="404"/>
                  </a:lnTo>
                  <a:lnTo>
                    <a:pt x="134" y="415"/>
                  </a:lnTo>
                  <a:lnTo>
                    <a:pt x="126" y="430"/>
                  </a:lnTo>
                  <a:lnTo>
                    <a:pt x="124" y="448"/>
                  </a:lnTo>
                  <a:lnTo>
                    <a:pt x="124" y="453"/>
                  </a:lnTo>
                  <a:lnTo>
                    <a:pt x="125" y="467"/>
                  </a:lnTo>
                  <a:lnTo>
                    <a:pt x="130" y="480"/>
                  </a:lnTo>
                  <a:lnTo>
                    <a:pt x="138" y="489"/>
                  </a:lnTo>
                  <a:lnTo>
                    <a:pt x="150" y="498"/>
                  </a:lnTo>
                  <a:lnTo>
                    <a:pt x="165" y="502"/>
                  </a:lnTo>
                  <a:lnTo>
                    <a:pt x="184" y="505"/>
                  </a:lnTo>
                  <a:lnTo>
                    <a:pt x="203" y="504"/>
                  </a:lnTo>
                  <a:lnTo>
                    <a:pt x="219" y="499"/>
                  </a:lnTo>
                  <a:lnTo>
                    <a:pt x="234" y="492"/>
                  </a:lnTo>
                  <a:lnTo>
                    <a:pt x="247" y="481"/>
                  </a:lnTo>
                  <a:lnTo>
                    <a:pt x="258" y="468"/>
                  </a:lnTo>
                  <a:lnTo>
                    <a:pt x="264" y="453"/>
                  </a:lnTo>
                  <a:lnTo>
                    <a:pt x="266" y="434"/>
                  </a:lnTo>
                  <a:lnTo>
                    <a:pt x="266" y="390"/>
                  </a:lnTo>
                  <a:lnTo>
                    <a:pt x="217" y="390"/>
                  </a:lnTo>
                  <a:close/>
                  <a:moveTo>
                    <a:pt x="3665" y="213"/>
                  </a:moveTo>
                  <a:lnTo>
                    <a:pt x="3649" y="215"/>
                  </a:lnTo>
                  <a:lnTo>
                    <a:pt x="3634" y="219"/>
                  </a:lnTo>
                  <a:lnTo>
                    <a:pt x="3618" y="227"/>
                  </a:lnTo>
                  <a:lnTo>
                    <a:pt x="3605" y="239"/>
                  </a:lnTo>
                  <a:lnTo>
                    <a:pt x="3595" y="257"/>
                  </a:lnTo>
                  <a:lnTo>
                    <a:pt x="3586" y="279"/>
                  </a:lnTo>
                  <a:lnTo>
                    <a:pt x="3580" y="307"/>
                  </a:lnTo>
                  <a:lnTo>
                    <a:pt x="3748" y="307"/>
                  </a:lnTo>
                  <a:lnTo>
                    <a:pt x="3744" y="282"/>
                  </a:lnTo>
                  <a:lnTo>
                    <a:pt x="3738" y="259"/>
                  </a:lnTo>
                  <a:lnTo>
                    <a:pt x="3730" y="243"/>
                  </a:lnTo>
                  <a:lnTo>
                    <a:pt x="3718" y="230"/>
                  </a:lnTo>
                  <a:lnTo>
                    <a:pt x="3703" y="220"/>
                  </a:lnTo>
                  <a:lnTo>
                    <a:pt x="3685" y="215"/>
                  </a:lnTo>
                  <a:lnTo>
                    <a:pt x="3665" y="213"/>
                  </a:lnTo>
                  <a:close/>
                  <a:moveTo>
                    <a:pt x="1602" y="213"/>
                  </a:moveTo>
                  <a:lnTo>
                    <a:pt x="1586" y="215"/>
                  </a:lnTo>
                  <a:lnTo>
                    <a:pt x="1569" y="219"/>
                  </a:lnTo>
                  <a:lnTo>
                    <a:pt x="1555" y="227"/>
                  </a:lnTo>
                  <a:lnTo>
                    <a:pt x="1542" y="239"/>
                  </a:lnTo>
                  <a:lnTo>
                    <a:pt x="1532" y="257"/>
                  </a:lnTo>
                  <a:lnTo>
                    <a:pt x="1522" y="279"/>
                  </a:lnTo>
                  <a:lnTo>
                    <a:pt x="1516" y="307"/>
                  </a:lnTo>
                  <a:lnTo>
                    <a:pt x="1684" y="307"/>
                  </a:lnTo>
                  <a:lnTo>
                    <a:pt x="1681" y="282"/>
                  </a:lnTo>
                  <a:lnTo>
                    <a:pt x="1675" y="259"/>
                  </a:lnTo>
                  <a:lnTo>
                    <a:pt x="1666" y="243"/>
                  </a:lnTo>
                  <a:lnTo>
                    <a:pt x="1654" y="230"/>
                  </a:lnTo>
                  <a:lnTo>
                    <a:pt x="1639" y="220"/>
                  </a:lnTo>
                  <a:lnTo>
                    <a:pt x="1622" y="215"/>
                  </a:lnTo>
                  <a:lnTo>
                    <a:pt x="1602" y="213"/>
                  </a:lnTo>
                  <a:close/>
                  <a:moveTo>
                    <a:pt x="2671" y="135"/>
                  </a:moveTo>
                  <a:lnTo>
                    <a:pt x="2796" y="135"/>
                  </a:lnTo>
                  <a:lnTo>
                    <a:pt x="2796" y="419"/>
                  </a:lnTo>
                  <a:lnTo>
                    <a:pt x="2798" y="442"/>
                  </a:lnTo>
                  <a:lnTo>
                    <a:pt x="2803" y="461"/>
                  </a:lnTo>
                  <a:lnTo>
                    <a:pt x="2811" y="476"/>
                  </a:lnTo>
                  <a:lnTo>
                    <a:pt x="2824" y="486"/>
                  </a:lnTo>
                  <a:lnTo>
                    <a:pt x="2841" y="492"/>
                  </a:lnTo>
                  <a:lnTo>
                    <a:pt x="2861" y="494"/>
                  </a:lnTo>
                  <a:lnTo>
                    <a:pt x="2878" y="493"/>
                  </a:lnTo>
                  <a:lnTo>
                    <a:pt x="2895" y="487"/>
                  </a:lnTo>
                  <a:lnTo>
                    <a:pt x="2910" y="479"/>
                  </a:lnTo>
                  <a:lnTo>
                    <a:pt x="2922" y="467"/>
                  </a:lnTo>
                  <a:lnTo>
                    <a:pt x="2931" y="452"/>
                  </a:lnTo>
                  <a:lnTo>
                    <a:pt x="2937" y="434"/>
                  </a:lnTo>
                  <a:lnTo>
                    <a:pt x="2940" y="412"/>
                  </a:lnTo>
                  <a:lnTo>
                    <a:pt x="2940" y="135"/>
                  </a:lnTo>
                  <a:lnTo>
                    <a:pt x="3064" y="135"/>
                  </a:lnTo>
                  <a:lnTo>
                    <a:pt x="3064" y="583"/>
                  </a:lnTo>
                  <a:lnTo>
                    <a:pt x="2940" y="583"/>
                  </a:lnTo>
                  <a:lnTo>
                    <a:pt x="2940" y="517"/>
                  </a:lnTo>
                  <a:lnTo>
                    <a:pt x="2929" y="534"/>
                  </a:lnTo>
                  <a:lnTo>
                    <a:pt x="2916" y="550"/>
                  </a:lnTo>
                  <a:lnTo>
                    <a:pt x="2901" y="564"/>
                  </a:lnTo>
                  <a:lnTo>
                    <a:pt x="2882" y="575"/>
                  </a:lnTo>
                  <a:lnTo>
                    <a:pt x="2861" y="584"/>
                  </a:lnTo>
                  <a:lnTo>
                    <a:pt x="2837" y="590"/>
                  </a:lnTo>
                  <a:lnTo>
                    <a:pt x="2810" y="592"/>
                  </a:lnTo>
                  <a:lnTo>
                    <a:pt x="2784" y="590"/>
                  </a:lnTo>
                  <a:lnTo>
                    <a:pt x="2759" y="584"/>
                  </a:lnTo>
                  <a:lnTo>
                    <a:pt x="2738" y="575"/>
                  </a:lnTo>
                  <a:lnTo>
                    <a:pt x="2718" y="563"/>
                  </a:lnTo>
                  <a:lnTo>
                    <a:pt x="2702" y="545"/>
                  </a:lnTo>
                  <a:lnTo>
                    <a:pt x="2689" y="525"/>
                  </a:lnTo>
                  <a:lnTo>
                    <a:pt x="2679" y="500"/>
                  </a:lnTo>
                  <a:lnTo>
                    <a:pt x="2672" y="470"/>
                  </a:lnTo>
                  <a:lnTo>
                    <a:pt x="2671" y="437"/>
                  </a:lnTo>
                  <a:lnTo>
                    <a:pt x="2671" y="135"/>
                  </a:lnTo>
                  <a:close/>
                  <a:moveTo>
                    <a:pt x="3413" y="130"/>
                  </a:moveTo>
                  <a:lnTo>
                    <a:pt x="3413" y="252"/>
                  </a:lnTo>
                  <a:lnTo>
                    <a:pt x="3383" y="253"/>
                  </a:lnTo>
                  <a:lnTo>
                    <a:pt x="3357" y="258"/>
                  </a:lnTo>
                  <a:lnTo>
                    <a:pt x="3333" y="264"/>
                  </a:lnTo>
                  <a:lnTo>
                    <a:pt x="3314" y="275"/>
                  </a:lnTo>
                  <a:lnTo>
                    <a:pt x="3299" y="288"/>
                  </a:lnTo>
                  <a:lnTo>
                    <a:pt x="3288" y="305"/>
                  </a:lnTo>
                  <a:lnTo>
                    <a:pt x="3281" y="327"/>
                  </a:lnTo>
                  <a:lnTo>
                    <a:pt x="3279" y="353"/>
                  </a:lnTo>
                  <a:lnTo>
                    <a:pt x="3279" y="583"/>
                  </a:lnTo>
                  <a:lnTo>
                    <a:pt x="3154" y="583"/>
                  </a:lnTo>
                  <a:lnTo>
                    <a:pt x="3154" y="135"/>
                  </a:lnTo>
                  <a:lnTo>
                    <a:pt x="3279" y="135"/>
                  </a:lnTo>
                  <a:lnTo>
                    <a:pt x="3279" y="217"/>
                  </a:lnTo>
                  <a:lnTo>
                    <a:pt x="3293" y="190"/>
                  </a:lnTo>
                  <a:lnTo>
                    <a:pt x="3311" y="169"/>
                  </a:lnTo>
                  <a:lnTo>
                    <a:pt x="3331" y="151"/>
                  </a:lnTo>
                  <a:lnTo>
                    <a:pt x="3354" y="139"/>
                  </a:lnTo>
                  <a:lnTo>
                    <a:pt x="3383" y="132"/>
                  </a:lnTo>
                  <a:lnTo>
                    <a:pt x="3413" y="130"/>
                  </a:lnTo>
                  <a:close/>
                  <a:moveTo>
                    <a:pt x="3664" y="126"/>
                  </a:moveTo>
                  <a:lnTo>
                    <a:pt x="3695" y="127"/>
                  </a:lnTo>
                  <a:lnTo>
                    <a:pt x="3723" y="132"/>
                  </a:lnTo>
                  <a:lnTo>
                    <a:pt x="3750" y="140"/>
                  </a:lnTo>
                  <a:lnTo>
                    <a:pt x="3775" y="152"/>
                  </a:lnTo>
                  <a:lnTo>
                    <a:pt x="3797" y="167"/>
                  </a:lnTo>
                  <a:lnTo>
                    <a:pt x="3818" y="185"/>
                  </a:lnTo>
                  <a:lnTo>
                    <a:pt x="3835" y="207"/>
                  </a:lnTo>
                  <a:lnTo>
                    <a:pt x="3849" y="233"/>
                  </a:lnTo>
                  <a:lnTo>
                    <a:pt x="3860" y="264"/>
                  </a:lnTo>
                  <a:lnTo>
                    <a:pt x="3867" y="298"/>
                  </a:lnTo>
                  <a:lnTo>
                    <a:pt x="3869" y="336"/>
                  </a:lnTo>
                  <a:lnTo>
                    <a:pt x="3869" y="390"/>
                  </a:lnTo>
                  <a:lnTo>
                    <a:pt x="3578" y="390"/>
                  </a:lnTo>
                  <a:lnTo>
                    <a:pt x="3582" y="417"/>
                  </a:lnTo>
                  <a:lnTo>
                    <a:pt x="3588" y="441"/>
                  </a:lnTo>
                  <a:lnTo>
                    <a:pt x="3596" y="460"/>
                  </a:lnTo>
                  <a:lnTo>
                    <a:pt x="3606" y="475"/>
                  </a:lnTo>
                  <a:lnTo>
                    <a:pt x="3619" y="487"/>
                  </a:lnTo>
                  <a:lnTo>
                    <a:pt x="3635" y="495"/>
                  </a:lnTo>
                  <a:lnTo>
                    <a:pt x="3652" y="500"/>
                  </a:lnTo>
                  <a:lnTo>
                    <a:pt x="3671" y="501"/>
                  </a:lnTo>
                  <a:lnTo>
                    <a:pt x="3694" y="499"/>
                  </a:lnTo>
                  <a:lnTo>
                    <a:pt x="3712" y="493"/>
                  </a:lnTo>
                  <a:lnTo>
                    <a:pt x="3728" y="485"/>
                  </a:lnTo>
                  <a:lnTo>
                    <a:pt x="3740" y="473"/>
                  </a:lnTo>
                  <a:lnTo>
                    <a:pt x="3748" y="459"/>
                  </a:lnTo>
                  <a:lnTo>
                    <a:pt x="3754" y="443"/>
                  </a:lnTo>
                  <a:lnTo>
                    <a:pt x="3869" y="443"/>
                  </a:lnTo>
                  <a:lnTo>
                    <a:pt x="3862" y="470"/>
                  </a:lnTo>
                  <a:lnTo>
                    <a:pt x="3851" y="495"/>
                  </a:lnTo>
                  <a:lnTo>
                    <a:pt x="3837" y="519"/>
                  </a:lnTo>
                  <a:lnTo>
                    <a:pt x="3818" y="540"/>
                  </a:lnTo>
                  <a:lnTo>
                    <a:pt x="3796" y="558"/>
                  </a:lnTo>
                  <a:lnTo>
                    <a:pt x="3770" y="572"/>
                  </a:lnTo>
                  <a:lnTo>
                    <a:pt x="3740" y="583"/>
                  </a:lnTo>
                  <a:lnTo>
                    <a:pt x="3707" y="590"/>
                  </a:lnTo>
                  <a:lnTo>
                    <a:pt x="3669" y="592"/>
                  </a:lnTo>
                  <a:lnTo>
                    <a:pt x="3635" y="590"/>
                  </a:lnTo>
                  <a:lnTo>
                    <a:pt x="3603" y="584"/>
                  </a:lnTo>
                  <a:lnTo>
                    <a:pt x="3573" y="574"/>
                  </a:lnTo>
                  <a:lnTo>
                    <a:pt x="3548" y="561"/>
                  </a:lnTo>
                  <a:lnTo>
                    <a:pt x="3523" y="545"/>
                  </a:lnTo>
                  <a:lnTo>
                    <a:pt x="3503" y="524"/>
                  </a:lnTo>
                  <a:lnTo>
                    <a:pt x="3485" y="500"/>
                  </a:lnTo>
                  <a:lnTo>
                    <a:pt x="3471" y="472"/>
                  </a:lnTo>
                  <a:lnTo>
                    <a:pt x="3460" y="440"/>
                  </a:lnTo>
                  <a:lnTo>
                    <a:pt x="3454" y="404"/>
                  </a:lnTo>
                  <a:lnTo>
                    <a:pt x="3452" y="366"/>
                  </a:lnTo>
                  <a:lnTo>
                    <a:pt x="3452" y="357"/>
                  </a:lnTo>
                  <a:lnTo>
                    <a:pt x="3454" y="318"/>
                  </a:lnTo>
                  <a:lnTo>
                    <a:pt x="3461" y="283"/>
                  </a:lnTo>
                  <a:lnTo>
                    <a:pt x="3472" y="251"/>
                  </a:lnTo>
                  <a:lnTo>
                    <a:pt x="3486" y="222"/>
                  </a:lnTo>
                  <a:lnTo>
                    <a:pt x="3504" y="197"/>
                  </a:lnTo>
                  <a:lnTo>
                    <a:pt x="3524" y="176"/>
                  </a:lnTo>
                  <a:lnTo>
                    <a:pt x="3548" y="158"/>
                  </a:lnTo>
                  <a:lnTo>
                    <a:pt x="3575" y="144"/>
                  </a:lnTo>
                  <a:lnTo>
                    <a:pt x="3603" y="134"/>
                  </a:lnTo>
                  <a:lnTo>
                    <a:pt x="3632" y="128"/>
                  </a:lnTo>
                  <a:lnTo>
                    <a:pt x="3664" y="126"/>
                  </a:lnTo>
                  <a:close/>
                  <a:moveTo>
                    <a:pt x="2141" y="126"/>
                  </a:moveTo>
                  <a:lnTo>
                    <a:pt x="2167" y="127"/>
                  </a:lnTo>
                  <a:lnTo>
                    <a:pt x="2191" y="133"/>
                  </a:lnTo>
                  <a:lnTo>
                    <a:pt x="2213" y="143"/>
                  </a:lnTo>
                  <a:lnTo>
                    <a:pt x="2230" y="156"/>
                  </a:lnTo>
                  <a:lnTo>
                    <a:pt x="2247" y="173"/>
                  </a:lnTo>
                  <a:lnTo>
                    <a:pt x="2260" y="194"/>
                  </a:lnTo>
                  <a:lnTo>
                    <a:pt x="2268" y="219"/>
                  </a:lnTo>
                  <a:lnTo>
                    <a:pt x="2274" y="249"/>
                  </a:lnTo>
                  <a:lnTo>
                    <a:pt x="2276" y="283"/>
                  </a:lnTo>
                  <a:lnTo>
                    <a:pt x="2276" y="583"/>
                  </a:lnTo>
                  <a:lnTo>
                    <a:pt x="2151" y="583"/>
                  </a:lnTo>
                  <a:lnTo>
                    <a:pt x="2151" y="302"/>
                  </a:lnTo>
                  <a:lnTo>
                    <a:pt x="2150" y="278"/>
                  </a:lnTo>
                  <a:lnTo>
                    <a:pt x="2144" y="259"/>
                  </a:lnTo>
                  <a:lnTo>
                    <a:pt x="2135" y="245"/>
                  </a:lnTo>
                  <a:lnTo>
                    <a:pt x="2122" y="235"/>
                  </a:lnTo>
                  <a:lnTo>
                    <a:pt x="2105" y="229"/>
                  </a:lnTo>
                  <a:lnTo>
                    <a:pt x="2085" y="226"/>
                  </a:lnTo>
                  <a:lnTo>
                    <a:pt x="2067" y="229"/>
                  </a:lnTo>
                  <a:lnTo>
                    <a:pt x="2050" y="233"/>
                  </a:lnTo>
                  <a:lnTo>
                    <a:pt x="2036" y="242"/>
                  </a:lnTo>
                  <a:lnTo>
                    <a:pt x="2024" y="253"/>
                  </a:lnTo>
                  <a:lnTo>
                    <a:pt x="2015" y="269"/>
                  </a:lnTo>
                  <a:lnTo>
                    <a:pt x="2009" y="288"/>
                  </a:lnTo>
                  <a:lnTo>
                    <a:pt x="2006" y="310"/>
                  </a:lnTo>
                  <a:lnTo>
                    <a:pt x="2006" y="583"/>
                  </a:lnTo>
                  <a:lnTo>
                    <a:pt x="1882" y="583"/>
                  </a:lnTo>
                  <a:lnTo>
                    <a:pt x="1882" y="135"/>
                  </a:lnTo>
                  <a:lnTo>
                    <a:pt x="2006" y="135"/>
                  </a:lnTo>
                  <a:lnTo>
                    <a:pt x="2006" y="202"/>
                  </a:lnTo>
                  <a:lnTo>
                    <a:pt x="2017" y="185"/>
                  </a:lnTo>
                  <a:lnTo>
                    <a:pt x="2031" y="169"/>
                  </a:lnTo>
                  <a:lnTo>
                    <a:pt x="2048" y="154"/>
                  </a:lnTo>
                  <a:lnTo>
                    <a:pt x="2067" y="143"/>
                  </a:lnTo>
                  <a:lnTo>
                    <a:pt x="2089" y="134"/>
                  </a:lnTo>
                  <a:lnTo>
                    <a:pt x="2114" y="128"/>
                  </a:lnTo>
                  <a:lnTo>
                    <a:pt x="2141" y="126"/>
                  </a:lnTo>
                  <a:close/>
                  <a:moveTo>
                    <a:pt x="1601" y="126"/>
                  </a:moveTo>
                  <a:lnTo>
                    <a:pt x="1631" y="127"/>
                  </a:lnTo>
                  <a:lnTo>
                    <a:pt x="1659" y="132"/>
                  </a:lnTo>
                  <a:lnTo>
                    <a:pt x="1686" y="140"/>
                  </a:lnTo>
                  <a:lnTo>
                    <a:pt x="1712" y="152"/>
                  </a:lnTo>
                  <a:lnTo>
                    <a:pt x="1734" y="167"/>
                  </a:lnTo>
                  <a:lnTo>
                    <a:pt x="1754" y="185"/>
                  </a:lnTo>
                  <a:lnTo>
                    <a:pt x="1772" y="207"/>
                  </a:lnTo>
                  <a:lnTo>
                    <a:pt x="1786" y="233"/>
                  </a:lnTo>
                  <a:lnTo>
                    <a:pt x="1797" y="264"/>
                  </a:lnTo>
                  <a:lnTo>
                    <a:pt x="1803" y="298"/>
                  </a:lnTo>
                  <a:lnTo>
                    <a:pt x="1805" y="336"/>
                  </a:lnTo>
                  <a:lnTo>
                    <a:pt x="1805" y="390"/>
                  </a:lnTo>
                  <a:lnTo>
                    <a:pt x="1515" y="390"/>
                  </a:lnTo>
                  <a:lnTo>
                    <a:pt x="1519" y="417"/>
                  </a:lnTo>
                  <a:lnTo>
                    <a:pt x="1525" y="441"/>
                  </a:lnTo>
                  <a:lnTo>
                    <a:pt x="1533" y="460"/>
                  </a:lnTo>
                  <a:lnTo>
                    <a:pt x="1543" y="475"/>
                  </a:lnTo>
                  <a:lnTo>
                    <a:pt x="1556" y="487"/>
                  </a:lnTo>
                  <a:lnTo>
                    <a:pt x="1572" y="495"/>
                  </a:lnTo>
                  <a:lnTo>
                    <a:pt x="1588" y="500"/>
                  </a:lnTo>
                  <a:lnTo>
                    <a:pt x="1608" y="501"/>
                  </a:lnTo>
                  <a:lnTo>
                    <a:pt x="1629" y="499"/>
                  </a:lnTo>
                  <a:lnTo>
                    <a:pt x="1648" y="493"/>
                  </a:lnTo>
                  <a:lnTo>
                    <a:pt x="1664" y="485"/>
                  </a:lnTo>
                  <a:lnTo>
                    <a:pt x="1675" y="473"/>
                  </a:lnTo>
                  <a:lnTo>
                    <a:pt x="1684" y="459"/>
                  </a:lnTo>
                  <a:lnTo>
                    <a:pt x="1690" y="443"/>
                  </a:lnTo>
                  <a:lnTo>
                    <a:pt x="1805" y="443"/>
                  </a:lnTo>
                  <a:lnTo>
                    <a:pt x="1798" y="470"/>
                  </a:lnTo>
                  <a:lnTo>
                    <a:pt x="1787" y="495"/>
                  </a:lnTo>
                  <a:lnTo>
                    <a:pt x="1773" y="519"/>
                  </a:lnTo>
                  <a:lnTo>
                    <a:pt x="1754" y="540"/>
                  </a:lnTo>
                  <a:lnTo>
                    <a:pt x="1732" y="558"/>
                  </a:lnTo>
                  <a:lnTo>
                    <a:pt x="1706" y="572"/>
                  </a:lnTo>
                  <a:lnTo>
                    <a:pt x="1677" y="583"/>
                  </a:lnTo>
                  <a:lnTo>
                    <a:pt x="1642" y="590"/>
                  </a:lnTo>
                  <a:lnTo>
                    <a:pt x="1606" y="592"/>
                  </a:lnTo>
                  <a:lnTo>
                    <a:pt x="1572" y="590"/>
                  </a:lnTo>
                  <a:lnTo>
                    <a:pt x="1540" y="584"/>
                  </a:lnTo>
                  <a:lnTo>
                    <a:pt x="1510" y="574"/>
                  </a:lnTo>
                  <a:lnTo>
                    <a:pt x="1483" y="561"/>
                  </a:lnTo>
                  <a:lnTo>
                    <a:pt x="1460" y="545"/>
                  </a:lnTo>
                  <a:lnTo>
                    <a:pt x="1439" y="524"/>
                  </a:lnTo>
                  <a:lnTo>
                    <a:pt x="1421" y="500"/>
                  </a:lnTo>
                  <a:lnTo>
                    <a:pt x="1407" y="472"/>
                  </a:lnTo>
                  <a:lnTo>
                    <a:pt x="1397" y="440"/>
                  </a:lnTo>
                  <a:lnTo>
                    <a:pt x="1390" y="404"/>
                  </a:lnTo>
                  <a:lnTo>
                    <a:pt x="1389" y="366"/>
                  </a:lnTo>
                  <a:lnTo>
                    <a:pt x="1389" y="357"/>
                  </a:lnTo>
                  <a:lnTo>
                    <a:pt x="1391" y="318"/>
                  </a:lnTo>
                  <a:lnTo>
                    <a:pt x="1397" y="283"/>
                  </a:lnTo>
                  <a:lnTo>
                    <a:pt x="1408" y="251"/>
                  </a:lnTo>
                  <a:lnTo>
                    <a:pt x="1422" y="222"/>
                  </a:lnTo>
                  <a:lnTo>
                    <a:pt x="1440" y="197"/>
                  </a:lnTo>
                  <a:lnTo>
                    <a:pt x="1461" y="176"/>
                  </a:lnTo>
                  <a:lnTo>
                    <a:pt x="1485" y="158"/>
                  </a:lnTo>
                  <a:lnTo>
                    <a:pt x="1510" y="144"/>
                  </a:lnTo>
                  <a:lnTo>
                    <a:pt x="1539" y="134"/>
                  </a:lnTo>
                  <a:lnTo>
                    <a:pt x="1569" y="128"/>
                  </a:lnTo>
                  <a:lnTo>
                    <a:pt x="1601" y="126"/>
                  </a:lnTo>
                  <a:close/>
                  <a:moveTo>
                    <a:pt x="1138" y="126"/>
                  </a:moveTo>
                  <a:lnTo>
                    <a:pt x="1169" y="127"/>
                  </a:lnTo>
                  <a:lnTo>
                    <a:pt x="1197" y="132"/>
                  </a:lnTo>
                  <a:lnTo>
                    <a:pt x="1223" y="140"/>
                  </a:lnTo>
                  <a:lnTo>
                    <a:pt x="1248" y="152"/>
                  </a:lnTo>
                  <a:lnTo>
                    <a:pt x="1270" y="166"/>
                  </a:lnTo>
                  <a:lnTo>
                    <a:pt x="1290" y="185"/>
                  </a:lnTo>
                  <a:lnTo>
                    <a:pt x="1307" y="206"/>
                  </a:lnTo>
                  <a:lnTo>
                    <a:pt x="1320" y="232"/>
                  </a:lnTo>
                  <a:lnTo>
                    <a:pt x="1329" y="262"/>
                  </a:lnTo>
                  <a:lnTo>
                    <a:pt x="1334" y="295"/>
                  </a:lnTo>
                  <a:lnTo>
                    <a:pt x="1215" y="295"/>
                  </a:lnTo>
                  <a:lnTo>
                    <a:pt x="1209" y="273"/>
                  </a:lnTo>
                  <a:lnTo>
                    <a:pt x="1202" y="256"/>
                  </a:lnTo>
                  <a:lnTo>
                    <a:pt x="1191" y="242"/>
                  </a:lnTo>
                  <a:lnTo>
                    <a:pt x="1178" y="231"/>
                  </a:lnTo>
                  <a:lnTo>
                    <a:pt x="1161" y="225"/>
                  </a:lnTo>
                  <a:lnTo>
                    <a:pt x="1140" y="223"/>
                  </a:lnTo>
                  <a:lnTo>
                    <a:pt x="1122" y="224"/>
                  </a:lnTo>
                  <a:lnTo>
                    <a:pt x="1105" y="231"/>
                  </a:lnTo>
                  <a:lnTo>
                    <a:pt x="1090" y="240"/>
                  </a:lnTo>
                  <a:lnTo>
                    <a:pt x="1077" y="255"/>
                  </a:lnTo>
                  <a:lnTo>
                    <a:pt x="1066" y="272"/>
                  </a:lnTo>
                  <a:lnTo>
                    <a:pt x="1058" y="295"/>
                  </a:lnTo>
                  <a:lnTo>
                    <a:pt x="1053" y="322"/>
                  </a:lnTo>
                  <a:lnTo>
                    <a:pt x="1051" y="353"/>
                  </a:lnTo>
                  <a:lnTo>
                    <a:pt x="1051" y="366"/>
                  </a:lnTo>
                  <a:lnTo>
                    <a:pt x="1053" y="397"/>
                  </a:lnTo>
                  <a:lnTo>
                    <a:pt x="1058" y="424"/>
                  </a:lnTo>
                  <a:lnTo>
                    <a:pt x="1065" y="448"/>
                  </a:lnTo>
                  <a:lnTo>
                    <a:pt x="1075" y="466"/>
                  </a:lnTo>
                  <a:lnTo>
                    <a:pt x="1087" y="480"/>
                  </a:lnTo>
                  <a:lnTo>
                    <a:pt x="1103" y="489"/>
                  </a:lnTo>
                  <a:lnTo>
                    <a:pt x="1122" y="495"/>
                  </a:lnTo>
                  <a:lnTo>
                    <a:pt x="1142" y="498"/>
                  </a:lnTo>
                  <a:lnTo>
                    <a:pt x="1162" y="495"/>
                  </a:lnTo>
                  <a:lnTo>
                    <a:pt x="1181" y="488"/>
                  </a:lnTo>
                  <a:lnTo>
                    <a:pt x="1196" y="475"/>
                  </a:lnTo>
                  <a:lnTo>
                    <a:pt x="1209" y="460"/>
                  </a:lnTo>
                  <a:lnTo>
                    <a:pt x="1217" y="440"/>
                  </a:lnTo>
                  <a:lnTo>
                    <a:pt x="1223" y="417"/>
                  </a:lnTo>
                  <a:lnTo>
                    <a:pt x="1336" y="417"/>
                  </a:lnTo>
                  <a:lnTo>
                    <a:pt x="1331" y="450"/>
                  </a:lnTo>
                  <a:lnTo>
                    <a:pt x="1322" y="480"/>
                  </a:lnTo>
                  <a:lnTo>
                    <a:pt x="1308" y="508"/>
                  </a:lnTo>
                  <a:lnTo>
                    <a:pt x="1290" y="532"/>
                  </a:lnTo>
                  <a:lnTo>
                    <a:pt x="1268" y="552"/>
                  </a:lnTo>
                  <a:lnTo>
                    <a:pt x="1241" y="570"/>
                  </a:lnTo>
                  <a:lnTo>
                    <a:pt x="1211" y="581"/>
                  </a:lnTo>
                  <a:lnTo>
                    <a:pt x="1176" y="588"/>
                  </a:lnTo>
                  <a:lnTo>
                    <a:pt x="1138" y="592"/>
                  </a:lnTo>
                  <a:lnTo>
                    <a:pt x="1105" y="590"/>
                  </a:lnTo>
                  <a:lnTo>
                    <a:pt x="1073" y="584"/>
                  </a:lnTo>
                  <a:lnTo>
                    <a:pt x="1045" y="574"/>
                  </a:lnTo>
                  <a:lnTo>
                    <a:pt x="1019" y="561"/>
                  </a:lnTo>
                  <a:lnTo>
                    <a:pt x="996" y="544"/>
                  </a:lnTo>
                  <a:lnTo>
                    <a:pt x="974" y="524"/>
                  </a:lnTo>
                  <a:lnTo>
                    <a:pt x="957" y="499"/>
                  </a:lnTo>
                  <a:lnTo>
                    <a:pt x="944" y="470"/>
                  </a:lnTo>
                  <a:lnTo>
                    <a:pt x="933" y="439"/>
                  </a:lnTo>
                  <a:lnTo>
                    <a:pt x="926" y="403"/>
                  </a:lnTo>
                  <a:lnTo>
                    <a:pt x="925" y="363"/>
                  </a:lnTo>
                  <a:lnTo>
                    <a:pt x="925" y="357"/>
                  </a:lnTo>
                  <a:lnTo>
                    <a:pt x="926" y="318"/>
                  </a:lnTo>
                  <a:lnTo>
                    <a:pt x="933" y="282"/>
                  </a:lnTo>
                  <a:lnTo>
                    <a:pt x="944" y="250"/>
                  </a:lnTo>
                  <a:lnTo>
                    <a:pt x="959" y="222"/>
                  </a:lnTo>
                  <a:lnTo>
                    <a:pt x="977" y="196"/>
                  </a:lnTo>
                  <a:lnTo>
                    <a:pt x="998" y="174"/>
                  </a:lnTo>
                  <a:lnTo>
                    <a:pt x="1021" y="158"/>
                  </a:lnTo>
                  <a:lnTo>
                    <a:pt x="1049" y="144"/>
                  </a:lnTo>
                  <a:lnTo>
                    <a:pt x="1077" y="134"/>
                  </a:lnTo>
                  <a:lnTo>
                    <a:pt x="1106" y="128"/>
                  </a:lnTo>
                  <a:lnTo>
                    <a:pt x="1138" y="126"/>
                  </a:lnTo>
                  <a:close/>
                  <a:moveTo>
                    <a:pt x="674" y="126"/>
                  </a:moveTo>
                  <a:lnTo>
                    <a:pt x="705" y="127"/>
                  </a:lnTo>
                  <a:lnTo>
                    <a:pt x="733" y="132"/>
                  </a:lnTo>
                  <a:lnTo>
                    <a:pt x="759" y="140"/>
                  </a:lnTo>
                  <a:lnTo>
                    <a:pt x="783" y="152"/>
                  </a:lnTo>
                  <a:lnTo>
                    <a:pt x="806" y="166"/>
                  </a:lnTo>
                  <a:lnTo>
                    <a:pt x="826" y="185"/>
                  </a:lnTo>
                  <a:lnTo>
                    <a:pt x="842" y="206"/>
                  </a:lnTo>
                  <a:lnTo>
                    <a:pt x="855" y="232"/>
                  </a:lnTo>
                  <a:lnTo>
                    <a:pt x="865" y="262"/>
                  </a:lnTo>
                  <a:lnTo>
                    <a:pt x="869" y="295"/>
                  </a:lnTo>
                  <a:lnTo>
                    <a:pt x="751" y="295"/>
                  </a:lnTo>
                  <a:lnTo>
                    <a:pt x="745" y="273"/>
                  </a:lnTo>
                  <a:lnTo>
                    <a:pt x="738" y="256"/>
                  </a:lnTo>
                  <a:lnTo>
                    <a:pt x="727" y="242"/>
                  </a:lnTo>
                  <a:lnTo>
                    <a:pt x="714" y="231"/>
                  </a:lnTo>
                  <a:lnTo>
                    <a:pt x="696" y="225"/>
                  </a:lnTo>
                  <a:lnTo>
                    <a:pt x="676" y="223"/>
                  </a:lnTo>
                  <a:lnTo>
                    <a:pt x="657" y="224"/>
                  </a:lnTo>
                  <a:lnTo>
                    <a:pt x="641" y="231"/>
                  </a:lnTo>
                  <a:lnTo>
                    <a:pt x="626" y="240"/>
                  </a:lnTo>
                  <a:lnTo>
                    <a:pt x="613" y="255"/>
                  </a:lnTo>
                  <a:lnTo>
                    <a:pt x="602" y="272"/>
                  </a:lnTo>
                  <a:lnTo>
                    <a:pt x="594" y="295"/>
                  </a:lnTo>
                  <a:lnTo>
                    <a:pt x="589" y="322"/>
                  </a:lnTo>
                  <a:lnTo>
                    <a:pt x="587" y="353"/>
                  </a:lnTo>
                  <a:lnTo>
                    <a:pt x="587" y="366"/>
                  </a:lnTo>
                  <a:lnTo>
                    <a:pt x="589" y="397"/>
                  </a:lnTo>
                  <a:lnTo>
                    <a:pt x="593" y="424"/>
                  </a:lnTo>
                  <a:lnTo>
                    <a:pt x="601" y="448"/>
                  </a:lnTo>
                  <a:lnTo>
                    <a:pt x="610" y="466"/>
                  </a:lnTo>
                  <a:lnTo>
                    <a:pt x="623" y="480"/>
                  </a:lnTo>
                  <a:lnTo>
                    <a:pt x="639" y="489"/>
                  </a:lnTo>
                  <a:lnTo>
                    <a:pt x="657" y="495"/>
                  </a:lnTo>
                  <a:lnTo>
                    <a:pt x="677" y="498"/>
                  </a:lnTo>
                  <a:lnTo>
                    <a:pt x="697" y="495"/>
                  </a:lnTo>
                  <a:lnTo>
                    <a:pt x="716" y="488"/>
                  </a:lnTo>
                  <a:lnTo>
                    <a:pt x="732" y="475"/>
                  </a:lnTo>
                  <a:lnTo>
                    <a:pt x="745" y="460"/>
                  </a:lnTo>
                  <a:lnTo>
                    <a:pt x="753" y="440"/>
                  </a:lnTo>
                  <a:lnTo>
                    <a:pt x="759" y="417"/>
                  </a:lnTo>
                  <a:lnTo>
                    <a:pt x="872" y="417"/>
                  </a:lnTo>
                  <a:lnTo>
                    <a:pt x="867" y="450"/>
                  </a:lnTo>
                  <a:lnTo>
                    <a:pt x="858" y="480"/>
                  </a:lnTo>
                  <a:lnTo>
                    <a:pt x="844" y="508"/>
                  </a:lnTo>
                  <a:lnTo>
                    <a:pt x="826" y="532"/>
                  </a:lnTo>
                  <a:lnTo>
                    <a:pt x="804" y="552"/>
                  </a:lnTo>
                  <a:lnTo>
                    <a:pt x="776" y="570"/>
                  </a:lnTo>
                  <a:lnTo>
                    <a:pt x="746" y="581"/>
                  </a:lnTo>
                  <a:lnTo>
                    <a:pt x="712" y="588"/>
                  </a:lnTo>
                  <a:lnTo>
                    <a:pt x="674" y="592"/>
                  </a:lnTo>
                  <a:lnTo>
                    <a:pt x="641" y="590"/>
                  </a:lnTo>
                  <a:lnTo>
                    <a:pt x="609" y="584"/>
                  </a:lnTo>
                  <a:lnTo>
                    <a:pt x="581" y="574"/>
                  </a:lnTo>
                  <a:lnTo>
                    <a:pt x="555" y="561"/>
                  </a:lnTo>
                  <a:lnTo>
                    <a:pt x="531" y="544"/>
                  </a:lnTo>
                  <a:lnTo>
                    <a:pt x="510" y="524"/>
                  </a:lnTo>
                  <a:lnTo>
                    <a:pt x="492" y="499"/>
                  </a:lnTo>
                  <a:lnTo>
                    <a:pt x="478" y="470"/>
                  </a:lnTo>
                  <a:lnTo>
                    <a:pt x="469" y="439"/>
                  </a:lnTo>
                  <a:lnTo>
                    <a:pt x="462" y="403"/>
                  </a:lnTo>
                  <a:lnTo>
                    <a:pt x="459" y="363"/>
                  </a:lnTo>
                  <a:lnTo>
                    <a:pt x="459" y="357"/>
                  </a:lnTo>
                  <a:lnTo>
                    <a:pt x="462" y="318"/>
                  </a:lnTo>
                  <a:lnTo>
                    <a:pt x="469" y="282"/>
                  </a:lnTo>
                  <a:lnTo>
                    <a:pt x="480" y="250"/>
                  </a:lnTo>
                  <a:lnTo>
                    <a:pt x="495" y="222"/>
                  </a:lnTo>
                  <a:lnTo>
                    <a:pt x="513" y="196"/>
                  </a:lnTo>
                  <a:lnTo>
                    <a:pt x="534" y="174"/>
                  </a:lnTo>
                  <a:lnTo>
                    <a:pt x="557" y="158"/>
                  </a:lnTo>
                  <a:lnTo>
                    <a:pt x="583" y="144"/>
                  </a:lnTo>
                  <a:lnTo>
                    <a:pt x="613" y="134"/>
                  </a:lnTo>
                  <a:lnTo>
                    <a:pt x="642" y="128"/>
                  </a:lnTo>
                  <a:lnTo>
                    <a:pt x="674" y="126"/>
                  </a:lnTo>
                  <a:close/>
                  <a:moveTo>
                    <a:pt x="206" y="126"/>
                  </a:moveTo>
                  <a:lnTo>
                    <a:pt x="238" y="127"/>
                  </a:lnTo>
                  <a:lnTo>
                    <a:pt x="267" y="132"/>
                  </a:lnTo>
                  <a:lnTo>
                    <a:pt x="293" y="139"/>
                  </a:lnTo>
                  <a:lnTo>
                    <a:pt x="318" y="150"/>
                  </a:lnTo>
                  <a:lnTo>
                    <a:pt x="339" y="163"/>
                  </a:lnTo>
                  <a:lnTo>
                    <a:pt x="357" y="180"/>
                  </a:lnTo>
                  <a:lnTo>
                    <a:pt x="371" y="200"/>
                  </a:lnTo>
                  <a:lnTo>
                    <a:pt x="382" y="224"/>
                  </a:lnTo>
                  <a:lnTo>
                    <a:pt x="389" y="252"/>
                  </a:lnTo>
                  <a:lnTo>
                    <a:pt x="391" y="283"/>
                  </a:lnTo>
                  <a:lnTo>
                    <a:pt x="391" y="583"/>
                  </a:lnTo>
                  <a:lnTo>
                    <a:pt x="269" y="583"/>
                  </a:lnTo>
                  <a:lnTo>
                    <a:pt x="269" y="531"/>
                  </a:lnTo>
                  <a:lnTo>
                    <a:pt x="257" y="547"/>
                  </a:lnTo>
                  <a:lnTo>
                    <a:pt x="242" y="561"/>
                  </a:lnTo>
                  <a:lnTo>
                    <a:pt x="223" y="573"/>
                  </a:lnTo>
                  <a:lnTo>
                    <a:pt x="200" y="583"/>
                  </a:lnTo>
                  <a:lnTo>
                    <a:pt x="176" y="590"/>
                  </a:lnTo>
                  <a:lnTo>
                    <a:pt x="147" y="592"/>
                  </a:lnTo>
                  <a:lnTo>
                    <a:pt x="120" y="590"/>
                  </a:lnTo>
                  <a:lnTo>
                    <a:pt x="95" y="585"/>
                  </a:lnTo>
                  <a:lnTo>
                    <a:pt x="73" y="578"/>
                  </a:lnTo>
                  <a:lnTo>
                    <a:pt x="53" y="566"/>
                  </a:lnTo>
                  <a:lnTo>
                    <a:pt x="35" y="552"/>
                  </a:lnTo>
                  <a:lnTo>
                    <a:pt x="20" y="534"/>
                  </a:lnTo>
                  <a:lnTo>
                    <a:pt x="9" y="513"/>
                  </a:lnTo>
                  <a:lnTo>
                    <a:pt x="2" y="488"/>
                  </a:lnTo>
                  <a:lnTo>
                    <a:pt x="0" y="460"/>
                  </a:lnTo>
                  <a:lnTo>
                    <a:pt x="0" y="455"/>
                  </a:lnTo>
                  <a:lnTo>
                    <a:pt x="2" y="427"/>
                  </a:lnTo>
                  <a:lnTo>
                    <a:pt x="9" y="402"/>
                  </a:lnTo>
                  <a:lnTo>
                    <a:pt x="20" y="381"/>
                  </a:lnTo>
                  <a:lnTo>
                    <a:pt x="34" y="362"/>
                  </a:lnTo>
                  <a:lnTo>
                    <a:pt x="52" y="347"/>
                  </a:lnTo>
                  <a:lnTo>
                    <a:pt x="73" y="335"/>
                  </a:lnTo>
                  <a:lnTo>
                    <a:pt x="97" y="325"/>
                  </a:lnTo>
                  <a:lnTo>
                    <a:pt x="123" y="317"/>
                  </a:lnTo>
                  <a:lnTo>
                    <a:pt x="151" y="312"/>
                  </a:lnTo>
                  <a:lnTo>
                    <a:pt x="180" y="310"/>
                  </a:lnTo>
                  <a:lnTo>
                    <a:pt x="211" y="309"/>
                  </a:lnTo>
                  <a:lnTo>
                    <a:pt x="266" y="309"/>
                  </a:lnTo>
                  <a:lnTo>
                    <a:pt x="266" y="288"/>
                  </a:lnTo>
                  <a:lnTo>
                    <a:pt x="265" y="266"/>
                  </a:lnTo>
                  <a:lnTo>
                    <a:pt x="259" y="249"/>
                  </a:lnTo>
                  <a:lnTo>
                    <a:pt x="251" y="235"/>
                  </a:lnTo>
                  <a:lnTo>
                    <a:pt x="238" y="224"/>
                  </a:lnTo>
                  <a:lnTo>
                    <a:pt x="221" y="218"/>
                  </a:lnTo>
                  <a:lnTo>
                    <a:pt x="200" y="216"/>
                  </a:lnTo>
                  <a:lnTo>
                    <a:pt x="181" y="218"/>
                  </a:lnTo>
                  <a:lnTo>
                    <a:pt x="165" y="223"/>
                  </a:lnTo>
                  <a:lnTo>
                    <a:pt x="152" y="232"/>
                  </a:lnTo>
                  <a:lnTo>
                    <a:pt x="143" y="244"/>
                  </a:lnTo>
                  <a:lnTo>
                    <a:pt x="137" y="258"/>
                  </a:lnTo>
                  <a:lnTo>
                    <a:pt x="133" y="273"/>
                  </a:lnTo>
                  <a:lnTo>
                    <a:pt x="14" y="273"/>
                  </a:lnTo>
                  <a:lnTo>
                    <a:pt x="19" y="243"/>
                  </a:lnTo>
                  <a:lnTo>
                    <a:pt x="29" y="216"/>
                  </a:lnTo>
                  <a:lnTo>
                    <a:pt x="44" y="191"/>
                  </a:lnTo>
                  <a:lnTo>
                    <a:pt x="62" y="171"/>
                  </a:lnTo>
                  <a:lnTo>
                    <a:pt x="85" y="156"/>
                  </a:lnTo>
                  <a:lnTo>
                    <a:pt x="112" y="143"/>
                  </a:lnTo>
                  <a:lnTo>
                    <a:pt x="140" y="133"/>
                  </a:lnTo>
                  <a:lnTo>
                    <a:pt x="172" y="127"/>
                  </a:lnTo>
                  <a:lnTo>
                    <a:pt x="206" y="126"/>
                  </a:lnTo>
                  <a:close/>
                  <a:moveTo>
                    <a:pt x="2510" y="0"/>
                  </a:moveTo>
                  <a:lnTo>
                    <a:pt x="2510" y="135"/>
                  </a:lnTo>
                  <a:lnTo>
                    <a:pt x="2594" y="135"/>
                  </a:lnTo>
                  <a:lnTo>
                    <a:pt x="2594" y="229"/>
                  </a:lnTo>
                  <a:lnTo>
                    <a:pt x="2510" y="229"/>
                  </a:lnTo>
                  <a:lnTo>
                    <a:pt x="2510" y="440"/>
                  </a:lnTo>
                  <a:lnTo>
                    <a:pt x="2511" y="459"/>
                  </a:lnTo>
                  <a:lnTo>
                    <a:pt x="2517" y="472"/>
                  </a:lnTo>
                  <a:lnTo>
                    <a:pt x="2525" y="481"/>
                  </a:lnTo>
                  <a:lnTo>
                    <a:pt x="2538" y="487"/>
                  </a:lnTo>
                  <a:lnTo>
                    <a:pt x="2553" y="489"/>
                  </a:lnTo>
                  <a:lnTo>
                    <a:pt x="2570" y="488"/>
                  </a:lnTo>
                  <a:lnTo>
                    <a:pt x="2585" y="486"/>
                  </a:lnTo>
                  <a:lnTo>
                    <a:pt x="2597" y="481"/>
                  </a:lnTo>
                  <a:lnTo>
                    <a:pt x="2597" y="579"/>
                  </a:lnTo>
                  <a:lnTo>
                    <a:pt x="2579" y="584"/>
                  </a:lnTo>
                  <a:lnTo>
                    <a:pt x="2555" y="587"/>
                  </a:lnTo>
                  <a:lnTo>
                    <a:pt x="2527" y="588"/>
                  </a:lnTo>
                  <a:lnTo>
                    <a:pt x="2493" y="586"/>
                  </a:lnTo>
                  <a:lnTo>
                    <a:pt x="2464" y="580"/>
                  </a:lnTo>
                  <a:lnTo>
                    <a:pt x="2439" y="570"/>
                  </a:lnTo>
                  <a:lnTo>
                    <a:pt x="2419" y="554"/>
                  </a:lnTo>
                  <a:lnTo>
                    <a:pt x="2403" y="535"/>
                  </a:lnTo>
                  <a:lnTo>
                    <a:pt x="2393" y="513"/>
                  </a:lnTo>
                  <a:lnTo>
                    <a:pt x="2386" y="485"/>
                  </a:lnTo>
                  <a:lnTo>
                    <a:pt x="2383" y="453"/>
                  </a:lnTo>
                  <a:lnTo>
                    <a:pt x="2383" y="229"/>
                  </a:lnTo>
                  <a:lnTo>
                    <a:pt x="2332" y="229"/>
                  </a:lnTo>
                  <a:lnTo>
                    <a:pt x="2332" y="135"/>
                  </a:lnTo>
                  <a:lnTo>
                    <a:pt x="2383" y="135"/>
                  </a:lnTo>
                  <a:lnTo>
                    <a:pt x="2383" y="52"/>
                  </a:lnTo>
                  <a:lnTo>
                    <a:pt x="25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283519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7" name="Text Placeholder 6"/>
          <p:cNvSpPr>
            <a:spLocks noGrp="1"/>
          </p:cNvSpPr>
          <p:nvPr>
            <p:ph type="body" sz="quarter" idx="13"/>
          </p:nvPr>
        </p:nvSpPr>
        <p:spPr>
          <a:xfrm>
            <a:off x="381000" y="1763713"/>
            <a:ext cx="11430000" cy="4294187"/>
          </a:xfrm>
        </p:spPr>
        <p:txBody>
          <a:bodyPr vert="horz" lIns="0" tIns="0" rIns="0" bIns="0" rtlCol="0">
            <a:noAutofit/>
          </a:bodyPr>
          <a:lstStyle>
            <a:lvl1pPr>
              <a:defRPr lang="en-US" sz="2400" dirty="0" smtClean="0"/>
            </a:lvl1pPr>
            <a:lvl2pPr marL="182875">
              <a:defRPr lang="en-US" sz="1600" dirty="0" smtClean="0"/>
            </a:lvl2pPr>
            <a:lvl3pPr marL="365751">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el 1"/>
          <p:cNvSpPr>
            <a:spLocks noGrp="1"/>
          </p:cNvSpPr>
          <p:nvPr>
            <p:ph type="title"/>
          </p:nvPr>
        </p:nvSpPr>
        <p:spPr>
          <a:xfrm>
            <a:off x="381000" y="381001"/>
            <a:ext cx="11430000" cy="1295401"/>
          </a:xfrm>
        </p:spPr>
        <p:txBody>
          <a:bodyPr/>
          <a:lstStyle/>
          <a:p>
            <a:r>
              <a:rPr lang="de-DE"/>
              <a:t>Titelmasterformat durch Klicken bearbeiten</a:t>
            </a:r>
            <a:endParaRPr lang="en-US"/>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4116703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0999" y="1803400"/>
            <a:ext cx="5553075" cy="4254500"/>
          </a:xfrm>
        </p:spPr>
        <p:txBody>
          <a:bodyPr/>
          <a:lstStyle>
            <a:lvl1pPr>
              <a:lnSpc>
                <a:spcPct val="80000"/>
              </a:lnSpc>
              <a:defRPr sz="5400" cap="all" baseline="0"/>
            </a:lvl1pPr>
          </a:lstStyle>
          <a:p>
            <a:r>
              <a:rPr lang="en-US"/>
              <a:t>SECTION INTRO</a:t>
            </a:r>
          </a:p>
        </p:txBody>
      </p:sp>
      <p:sp>
        <p:nvSpPr>
          <p:cNvPr id="3" name="Slide Number Placeholder 2"/>
          <p:cNvSpPr>
            <a:spLocks noGrp="1"/>
          </p:cNvSpPr>
          <p:nvPr>
            <p:ph type="sldNum" sz="quarter" idx="10"/>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8" name="Text Placeholder 7"/>
          <p:cNvSpPr>
            <a:spLocks noGrp="1"/>
          </p:cNvSpPr>
          <p:nvPr>
            <p:ph type="body" sz="quarter" idx="11" hasCustomPrompt="1"/>
          </p:nvPr>
        </p:nvSpPr>
        <p:spPr>
          <a:xfrm>
            <a:off x="6257925" y="1763714"/>
            <a:ext cx="5553075" cy="4294186"/>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2775131095"/>
      </p:ext>
    </p:extLst>
  </p:cSld>
  <p:clrMapOvr>
    <a:masterClrMapping/>
  </p:clrMapOvr>
  <p:extLst>
    <p:ext uri="{DCECCB84-F9BA-43D5-87BE-67443E8EF086}">
      <p15:sldGuideLst xmlns:p15="http://schemas.microsoft.com/office/powerpoint/2012/main">
        <p15:guide id="1" pos="3931">
          <p15:clr>
            <a:srgbClr val="FBAE40"/>
          </p15:clr>
        </p15:guide>
        <p15:guide id="2" pos="374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intro">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8" name="Text Placeholder 7"/>
          <p:cNvSpPr>
            <a:spLocks noGrp="1"/>
          </p:cNvSpPr>
          <p:nvPr>
            <p:ph type="body" sz="quarter" idx="11" hasCustomPrompt="1"/>
          </p:nvPr>
        </p:nvSpPr>
        <p:spPr>
          <a:xfrm>
            <a:off x="6257925" y="1763714"/>
            <a:ext cx="5553075" cy="4294186"/>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35"/>
          <p:cNvGrpSpPr/>
          <p:nvPr userDrawn="1"/>
        </p:nvGrpSpPr>
        <p:grpSpPr>
          <a:xfrm>
            <a:off x="1828800" y="1676821"/>
            <a:ext cx="4105275" cy="4190699"/>
            <a:chOff x="336907" y="342900"/>
            <a:chExt cx="2298344" cy="2346169"/>
          </a:xfrm>
        </p:grpSpPr>
        <p:sp>
          <p:nvSpPr>
            <p:cNvPr id="6"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1"/>
                </a:gs>
                <a:gs pos="100000">
                  <a:schemeClr val="accent3"/>
                </a:gs>
              </a:gsLst>
              <a:lin ang="0" scaled="1"/>
            </a:gradFill>
            <a:ln>
              <a:noFill/>
            </a:ln>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sp>
          <p:nvSpPr>
            <p:cNvPr id="7"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solidFill>
                  <a:srgbClr val="000000"/>
                </a:solidFill>
              </a:endParaRPr>
            </a:p>
          </p:txBody>
        </p:sp>
      </p:grpSp>
      <p:sp>
        <p:nvSpPr>
          <p:cNvPr id="2" name="Title 1"/>
          <p:cNvSpPr>
            <a:spLocks noGrp="1"/>
          </p:cNvSpPr>
          <p:nvPr>
            <p:ph type="title" hasCustomPrompt="1"/>
          </p:nvPr>
        </p:nvSpPr>
        <p:spPr>
          <a:xfrm>
            <a:off x="380999" y="1803400"/>
            <a:ext cx="5553075" cy="4254500"/>
          </a:xfrm>
        </p:spPr>
        <p:txBody>
          <a:bodyPr anchor="ctr" anchorCtr="0"/>
          <a:lstStyle>
            <a:lvl1pPr>
              <a:lnSpc>
                <a:spcPct val="80000"/>
              </a:lnSpc>
              <a:defRPr sz="5400" cap="all" baseline="0">
                <a:solidFill>
                  <a:schemeClr val="tx1"/>
                </a:solidFill>
              </a:defRPr>
            </a:lvl1pPr>
          </a:lstStyle>
          <a:p>
            <a:r>
              <a:rPr lang="en-US"/>
              <a:t>Click </a:t>
            </a:r>
            <a:br>
              <a:rPr lang="en-US"/>
            </a:br>
            <a:r>
              <a:rPr lang="en-US"/>
              <a:t>to edit Master title</a:t>
            </a:r>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2631199499"/>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llout &amp; cop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7" name="Text Placeholder 6"/>
          <p:cNvSpPr>
            <a:spLocks noGrp="1"/>
          </p:cNvSpPr>
          <p:nvPr>
            <p:ph type="body" sz="quarter" idx="13"/>
          </p:nvPr>
        </p:nvSpPr>
        <p:spPr>
          <a:xfrm>
            <a:off x="380999" y="1763713"/>
            <a:ext cx="5553075" cy="4294187"/>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4"/>
          </p:nvPr>
        </p:nvSpPr>
        <p:spPr>
          <a:xfrm>
            <a:off x="6257925" y="1763714"/>
            <a:ext cx="5553075" cy="4294186"/>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el 1"/>
          <p:cNvSpPr>
            <a:spLocks noGrp="1"/>
          </p:cNvSpPr>
          <p:nvPr>
            <p:ph type="title"/>
          </p:nvPr>
        </p:nvSpPr>
        <p:spPr>
          <a:xfrm>
            <a:off x="381000" y="381001"/>
            <a:ext cx="11430000" cy="1295401"/>
          </a:xfrm>
        </p:spPr>
        <p:txBody>
          <a:bodyPr/>
          <a:lstStyle/>
          <a:p>
            <a:r>
              <a:rPr lang="de-DE"/>
              <a:t>Titelmasterformat durch Klicken bearbeiten</a:t>
            </a:r>
            <a:endParaRPr lang="en-US"/>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1050676146"/>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llout &amp; 2 column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80999" y="1763729"/>
            <a:ext cx="3547493" cy="4294171"/>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10" name="Text Placeholder 7"/>
          <p:cNvSpPr>
            <a:spLocks noGrp="1"/>
          </p:cNvSpPr>
          <p:nvPr>
            <p:ph type="body" sz="quarter" idx="14"/>
          </p:nvPr>
        </p:nvSpPr>
        <p:spPr>
          <a:xfrm>
            <a:off x="8256657" y="1763713"/>
            <a:ext cx="3547493" cy="42941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5"/>
          </p:nvPr>
        </p:nvSpPr>
        <p:spPr>
          <a:xfrm>
            <a:off x="4318828" y="1763713"/>
            <a:ext cx="3547493" cy="42941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el 1"/>
          <p:cNvSpPr>
            <a:spLocks noGrp="1"/>
          </p:cNvSpPr>
          <p:nvPr>
            <p:ph type="title"/>
          </p:nvPr>
        </p:nvSpPr>
        <p:spPr/>
        <p:txBody>
          <a:bodyPr/>
          <a:lstStyle/>
          <a:p>
            <a:r>
              <a:rPr lang="de-DE"/>
              <a:t>Titelmasterformat durch Klicken bearbeiten</a:t>
            </a:r>
            <a:endParaRPr lang="en-US"/>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2493664759"/>
      </p:ext>
    </p:extLst>
  </p:cSld>
  <p:clrMapOvr>
    <a:masterClrMapping/>
  </p:clrMapOvr>
  <p:extLst>
    <p:ext uri="{DCECCB84-F9BA-43D5-87BE-67443E8EF086}">
      <p15:sldGuideLst xmlns:p15="http://schemas.microsoft.com/office/powerpoint/2012/main">
        <p15:guide id="1" pos="2706">
          <p15:clr>
            <a:srgbClr val="FBAE40"/>
          </p15:clr>
        </p15:guide>
        <p15:guide id="2" pos="2479">
          <p15:clr>
            <a:srgbClr val="FBAE40"/>
          </p15:clr>
        </p15:guide>
        <p15:guide id="3" pos="4974">
          <p15:clr>
            <a:srgbClr val="FBAE40"/>
          </p15:clr>
        </p15:guide>
        <p15:guide id="4" pos="520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8" name="Text Placeholder 7"/>
          <p:cNvSpPr>
            <a:spLocks noGrp="1"/>
          </p:cNvSpPr>
          <p:nvPr>
            <p:ph type="body" sz="quarter" idx="14"/>
          </p:nvPr>
        </p:nvSpPr>
        <p:spPr>
          <a:xfrm>
            <a:off x="3333750" y="1763713"/>
            <a:ext cx="2590800" cy="42941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p:cNvSpPr>
            <a:spLocks noGrp="1"/>
          </p:cNvSpPr>
          <p:nvPr>
            <p:ph type="body" sz="quarter" idx="15"/>
          </p:nvPr>
        </p:nvSpPr>
        <p:spPr>
          <a:xfrm>
            <a:off x="381000" y="1763713"/>
            <a:ext cx="2590800" cy="42941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6"/>
          </p:nvPr>
        </p:nvSpPr>
        <p:spPr>
          <a:xfrm>
            <a:off x="9239250" y="1763713"/>
            <a:ext cx="2590800" cy="42941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7"/>
          </p:nvPr>
        </p:nvSpPr>
        <p:spPr>
          <a:xfrm>
            <a:off x="6286500" y="1763713"/>
            <a:ext cx="2590800" cy="42941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el 1"/>
          <p:cNvSpPr>
            <a:spLocks noGrp="1"/>
          </p:cNvSpPr>
          <p:nvPr>
            <p:ph type="title"/>
          </p:nvPr>
        </p:nvSpPr>
        <p:spPr/>
        <p:txBody>
          <a:bodyPr/>
          <a:lstStyle/>
          <a:p>
            <a:r>
              <a:rPr lang="de-DE"/>
              <a:t>Titelmasterformat durch Klicken bearbeiten</a:t>
            </a:r>
            <a:endParaRPr lang="en-US"/>
          </a:p>
        </p:txBody>
      </p:sp>
      <p:sp>
        <p:nvSpPr>
          <p:cNvPr id="12"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1183681869"/>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pos="5586">
          <p15:clr>
            <a:srgbClr val="FBAE40"/>
          </p15:clr>
        </p15:guide>
        <p15:guide id="4" pos="5813">
          <p15:clr>
            <a:srgbClr val="FBAE40"/>
          </p15:clr>
        </p15:guide>
        <p15:guide id="5" pos="2094">
          <p15:clr>
            <a:srgbClr val="FBAE40"/>
          </p15:clr>
        </p15:guide>
        <p15:guide id="6" pos="186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4" name="Titel 3"/>
          <p:cNvSpPr>
            <a:spLocks noGrp="1"/>
          </p:cNvSpPr>
          <p:nvPr>
            <p:ph type="title"/>
          </p:nvPr>
        </p:nvSpPr>
        <p:spPr/>
        <p:txBody>
          <a:bodyPr/>
          <a:lstStyle/>
          <a:p>
            <a:r>
              <a:rPr lang="de-DE"/>
              <a:t>Titelmasterformat durch Klicken bearbeiten</a:t>
            </a:r>
            <a:endParaRPr lang="en-US"/>
          </a:p>
        </p:txBody>
      </p:sp>
      <p:sp>
        <p:nvSpPr>
          <p:cNvPr id="6"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2650121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022268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mn-lt"/>
              </a:defRPr>
            </a:lvl1pPr>
          </a:lstStyle>
          <a:p>
            <a:fld id="{0D558541-60C9-42A2-8392-FF12533A6B7A}" type="slidenum">
              <a:rPr lang="en-US" smtClean="0">
                <a:solidFill>
                  <a:srgbClr val="919191"/>
                </a:solidFill>
              </a:rPr>
              <a:pPr/>
              <a:t>‹#›</a:t>
            </a:fld>
            <a:endParaRPr lang="en-US">
              <a:solidFill>
                <a:srgbClr val="919191"/>
              </a:solidFill>
            </a:endParaRPr>
          </a:p>
        </p:txBody>
      </p:sp>
      <p:pic>
        <p:nvPicPr>
          <p:cNvPr id="5" name="Picture 4" hidden="1"/>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168620" y="1"/>
            <a:ext cx="12055819" cy="6857143"/>
          </a:xfrm>
          <a:prstGeom prst="rect">
            <a:avLst/>
          </a:prstGeom>
        </p:spPr>
      </p:pic>
      <p:sp>
        <p:nvSpPr>
          <p:cNvPr id="4"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32351571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gradFill>
          <a:gsLst>
            <a:gs pos="0">
              <a:schemeClr val="accent3"/>
            </a:gs>
            <a:gs pos="100000">
              <a:schemeClr val="accent1"/>
            </a:gs>
          </a:gsLst>
          <a:lin ang="3600000" scaled="0"/>
        </a:gra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latin typeface="+mn-lt"/>
              </a:defRPr>
            </a:lvl1pPr>
          </a:lstStyle>
          <a:p>
            <a:fld id="{0D558541-60C9-42A2-8392-FF12533A6B7A}" type="slidenum">
              <a:rPr lang="en-US" smtClean="0">
                <a:solidFill>
                  <a:srgbClr val="FFFFFF"/>
                </a:solidFill>
              </a:rPr>
              <a:pPr/>
              <a:t>‹#›</a:t>
            </a:fld>
            <a:endParaRPr lang="en-US">
              <a:solidFill>
                <a:srgbClr val="FFFFFF"/>
              </a:solidFill>
            </a:endParaRPr>
          </a:p>
        </p:txBody>
      </p:sp>
      <p:sp>
        <p:nvSpPr>
          <p:cNvPr id="7"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29887181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Blank">
    <p:bg>
      <p:bgPr>
        <a:gradFill>
          <a:gsLst>
            <a:gs pos="100000">
              <a:schemeClr val="accent1"/>
            </a:gs>
            <a:gs pos="64000">
              <a:schemeClr val="accent3"/>
            </a:gs>
          </a:gsLst>
          <a:lin ang="3600000" scaled="0"/>
        </a:gra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5899D8A-FE23-4DC1-8812-EA427C1B1DF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Objekt 4" hidden="1">
                        <a:extLst>
                          <a:ext uri="{FF2B5EF4-FFF2-40B4-BE49-F238E27FC236}">
                            <a16:creationId xmlns:a16="http://schemas.microsoft.com/office/drawing/2014/main" id="{95899D8A-FE23-4DC1-8812-EA427C1B1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0A6284F9-4365-4306-A46C-5FAB997F5F9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000" b="0" i="0" baseline="0">
              <a:latin typeface="Arial Black" panose="020B0A04020102020204" pitchFamily="34" charset="0"/>
              <a:ea typeface="+mj-ea"/>
              <a:cs typeface="+mj-cs"/>
              <a:sym typeface="Arial Black" panose="020B0A04020102020204" pitchFamily="34" charset="0"/>
            </a:endParaRPr>
          </a:p>
        </p:txBody>
      </p:sp>
      <p:sp>
        <p:nvSpPr>
          <p:cNvPr id="3" name="Slide Number Placeholder 2"/>
          <p:cNvSpPr>
            <a:spLocks noGrp="1"/>
          </p:cNvSpPr>
          <p:nvPr>
            <p:ph type="sldNum" sz="quarter" idx="11"/>
          </p:nvPr>
        </p:nvSpPr>
        <p:spPr/>
        <p:txBody>
          <a:bodyPr/>
          <a:lstStyle>
            <a:lvl1pPr>
              <a:defRPr>
                <a:solidFill>
                  <a:schemeClr val="bg1"/>
                </a:solidFill>
                <a:latin typeface="+mn-lt"/>
              </a:defRPr>
            </a:lvl1pPr>
          </a:lstStyle>
          <a:p>
            <a:fld id="{0D558541-60C9-42A2-8392-FF12533A6B7A}" type="slidenum">
              <a:rPr lang="en-US" smtClean="0">
                <a:solidFill>
                  <a:srgbClr val="FFFFFF"/>
                </a:solidFill>
              </a:rPr>
              <a:pPr/>
              <a:t>‹#›</a:t>
            </a:fld>
            <a:endParaRPr lang="en-US">
              <a:solidFill>
                <a:srgbClr val="FFFFFF"/>
              </a:solidFill>
            </a:endParaRPr>
          </a:p>
        </p:txBody>
      </p:sp>
      <p:sp>
        <p:nvSpPr>
          <p:cNvPr id="2" name="Title 1"/>
          <p:cNvSpPr>
            <a:spLocks noGrp="1"/>
          </p:cNvSpPr>
          <p:nvPr>
            <p:ph type="title"/>
          </p:nvPr>
        </p:nvSpPr>
        <p:spPr>
          <a:xfrm>
            <a:off x="381001" y="3719880"/>
            <a:ext cx="9955742" cy="1151063"/>
          </a:xfrm>
        </p:spPr>
        <p:txBody>
          <a:bodyPr/>
          <a:lstStyle>
            <a:lvl1pPr>
              <a:defRPr>
                <a:solidFill>
                  <a:schemeClr val="bg1"/>
                </a:solidFill>
              </a:defRPr>
            </a:lvl1pPr>
          </a:lstStyle>
          <a:p>
            <a:r>
              <a:rPr lang="en-US"/>
              <a:t>Click to edit Master title style</a:t>
            </a:r>
            <a:endParaRPr lang="en-AU"/>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mn-lt"/>
              </a:defRPr>
            </a:lvl1pPr>
          </a:lstStyle>
          <a:p>
            <a:pPr defTabSz="1087106"/>
            <a:r>
              <a:rPr lang="en-US"/>
              <a:t>Copyright © 2019 Accenture All rights reserved.</a:t>
            </a:r>
          </a:p>
        </p:txBody>
      </p:sp>
    </p:spTree>
    <p:extLst>
      <p:ext uri="{BB962C8B-B14F-4D97-AF65-F5344CB8AC3E}">
        <p14:creationId xmlns:p14="http://schemas.microsoft.com/office/powerpoint/2010/main" val="29749358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5DE521DD-F869-4942-ACAE-34C787B89655}"/>
              </a:ext>
            </a:extLst>
          </p:cNvPr>
          <p:cNvSpPr>
            <a:spLocks noGrp="1"/>
          </p:cNvSpPr>
          <p:nvPr>
            <p:ph type="body" sz="quarter" idx="14" hasCustomPrompt="1"/>
          </p:nvPr>
        </p:nvSpPr>
        <p:spPr>
          <a:xfrm>
            <a:off x="381000" y="360680"/>
            <a:ext cx="11430000" cy="990600"/>
          </a:xfrm>
          <a:prstGeom prst="rect">
            <a:avLst/>
          </a:prstGeom>
        </p:spPr>
        <p:txBody>
          <a:bodyPr wrap="square" lIns="0" tIns="0" rIns="0" bIns="0" anchor="t" anchorCtr="0">
            <a:noAutofit/>
          </a:bodyPr>
          <a:lstStyle>
            <a:lvl1pPr marL="0" indent="0" algn="l">
              <a:lnSpc>
                <a:spcPct val="80000"/>
              </a:lnSpc>
              <a:spcBef>
                <a:spcPts val="0"/>
              </a:spcBef>
              <a:spcAft>
                <a:spcPct val="0"/>
              </a:spcAft>
              <a:buFontTx/>
              <a:buNone/>
              <a:defRPr sz="4000" b="0" i="0" cap="all" baseline="0">
                <a:solidFill>
                  <a:srgbClr val="000000"/>
                </a:solidFill>
                <a:latin typeface="Graphik Black" panose="020B0A03030202060203" pitchFamily="34" charset="0"/>
              </a:defRPr>
            </a:lvl1pPr>
          </a:lstStyle>
          <a:p>
            <a:pPr lvl="0" fontAlgn="base">
              <a:lnSpc>
                <a:spcPct val="80000"/>
              </a:lnSpc>
              <a:spcAft>
                <a:spcPct val="0"/>
              </a:spcAft>
              <a:defRPr/>
            </a:pPr>
            <a:r>
              <a:rPr lang="en-US">
                <a:solidFill>
                  <a:srgbClr val="000000"/>
                </a:solidFill>
                <a:latin typeface="Graphik Black" panose="020B0503030202060203" pitchFamily="34" charset="77"/>
                <a:cs typeface="Arial" panose="020B0604020202020204" pitchFamily="34" charset="0"/>
              </a:rPr>
              <a:t>INSERT MAIN TITLE AT 40PT MIN 30PT</a:t>
            </a:r>
          </a:p>
        </p:txBody>
      </p:sp>
    </p:spTree>
    <p:extLst>
      <p:ext uri="{BB962C8B-B14F-4D97-AF65-F5344CB8AC3E}">
        <p14:creationId xmlns:p14="http://schemas.microsoft.com/office/powerpoint/2010/main" val="24436994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11048804" y="6546469"/>
            <a:ext cx="770951" cy="138499"/>
          </a:xfrm>
        </p:spPr>
        <p:txBody>
          <a:bodyPr wrap="square" lIns="0" tIns="0" rIns="0" bIns="0" anchor="ctr" anchorCtr="0">
            <a:noAutofit/>
          </a:bodyPr>
          <a:lstStyle>
            <a:lvl1pPr marL="0" indent="0" algn="r">
              <a:lnSpc>
                <a:spcPct val="100000"/>
              </a:lnSpc>
              <a:spcBef>
                <a:spcPts val="0"/>
              </a:spcBef>
              <a:spcAft>
                <a:spcPts val="0"/>
              </a:spcAft>
              <a:buFontTx/>
              <a:buNone/>
              <a:defRPr sz="900" b="0" i="0">
                <a:solidFill>
                  <a:srgbClr val="5A5A5A"/>
                </a:solidFill>
                <a:latin typeface="Graphik" panose="020B0503030202060203" pitchFamily="34" charset="0"/>
              </a:defRPr>
            </a:lvl1pPr>
          </a:lstStyle>
          <a:p>
            <a:fld id="{0D558541-60C9-42A2-8392-FF12533A6B7A}" type="slidenum">
              <a:rPr lang="en-US" smtClean="0"/>
              <a:pPr/>
              <a:t>‹#›</a:t>
            </a:fld>
            <a:endParaRPr lang="en-US"/>
          </a:p>
        </p:txBody>
      </p:sp>
      <p:sp>
        <p:nvSpPr>
          <p:cNvPr id="4" name="Titel 3"/>
          <p:cNvSpPr>
            <a:spLocks noGrp="1"/>
          </p:cNvSpPr>
          <p:nvPr>
            <p:ph type="title" hasCustomPrompt="1"/>
          </p:nvPr>
        </p:nvSpPr>
        <p:spPr/>
        <p:txBody>
          <a:bodyPr/>
          <a:lstStyle>
            <a:lvl1pPr>
              <a:defRPr/>
            </a:lvl1pPr>
          </a:lstStyle>
          <a:p>
            <a:r>
              <a:rPr lang="en-US"/>
              <a:t>Click to edit Master title style</a:t>
            </a:r>
          </a:p>
        </p:txBody>
      </p:sp>
      <p:sp>
        <p:nvSpPr>
          <p:cNvPr id="6" name="Footer Placeholder 3"/>
          <p:cNvSpPr>
            <a:spLocks noGrp="1"/>
          </p:cNvSpPr>
          <p:nvPr>
            <p:ph type="ftr" sz="quarter" idx="3"/>
          </p:nvPr>
        </p:nvSpPr>
        <p:spPr>
          <a:xfrm>
            <a:off x="360000" y="6546469"/>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5A5A5A"/>
                </a:solidFill>
                <a:latin typeface="Graphik" panose="020B0503030202060203" pitchFamily="34" charset="0"/>
                <a:sym typeface="Graphik" panose="020B0503030202060203" pitchFamily="34" charset="0"/>
              </a:defRPr>
            </a:lvl1pPr>
          </a:lstStyle>
          <a:p>
            <a:pPr defTabSz="1087106"/>
            <a:r>
              <a:rPr lang="en-US"/>
              <a:t>Copyright © 2019 Accenture. All rights reserved.</a:t>
            </a:r>
          </a:p>
        </p:txBody>
      </p:sp>
    </p:spTree>
    <p:extLst>
      <p:ext uri="{BB962C8B-B14F-4D97-AF65-F5344CB8AC3E}">
        <p14:creationId xmlns:p14="http://schemas.microsoft.com/office/powerpoint/2010/main" val="1148643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4D1AAF-D369-4DD1-852D-5D66A17C7493}"/>
              </a:ext>
            </a:extLst>
          </p:cNvPr>
          <p:cNvSpPr>
            <a:spLocks noGrp="1"/>
          </p:cNvSpPr>
          <p:nvPr>
            <p:ph type="title"/>
          </p:nvPr>
        </p:nvSpPr>
        <p:spPr>
          <a:xfrm>
            <a:off x="381000" y="1"/>
            <a:ext cx="11430000" cy="1343024"/>
          </a:xfrm>
        </p:spPr>
        <p:txBody>
          <a:bodyPr tIns="0" anchor="b" anchorCtr="0">
            <a:noAutofit/>
          </a:bodyPr>
          <a:lstStyle>
            <a:lvl1pPr>
              <a:lnSpc>
                <a:spcPct val="80000"/>
              </a:lnSpc>
              <a:defRPr sz="3200">
                <a:solidFill>
                  <a:srgbClr val="7E00FF"/>
                </a:solidFill>
                <a:latin typeface="+mj-lt"/>
              </a:defRPr>
            </a:lvl1pPr>
          </a:lstStyle>
          <a:p>
            <a:r>
              <a:rPr lang="en-US"/>
              <a:t>Click to edit Master title style</a:t>
            </a:r>
          </a:p>
        </p:txBody>
      </p:sp>
      <p:sp>
        <p:nvSpPr>
          <p:cNvPr id="5" name="Content Placeholder 4">
            <a:extLst>
              <a:ext uri="{FF2B5EF4-FFF2-40B4-BE49-F238E27FC236}">
                <a16:creationId xmlns:a16="http://schemas.microsoft.com/office/drawing/2014/main" id="{CC34ABF8-6417-4266-85FB-7678EEDC229F}"/>
              </a:ext>
            </a:extLst>
          </p:cNvPr>
          <p:cNvSpPr>
            <a:spLocks noGrp="1"/>
          </p:cNvSpPr>
          <p:nvPr>
            <p:ph sz="quarter" idx="10" hasCustomPrompt="1"/>
          </p:nvPr>
        </p:nvSpPr>
        <p:spPr>
          <a:xfrm>
            <a:off x="381000" y="1343025"/>
            <a:ext cx="11430000" cy="5124450"/>
          </a:xfrm>
        </p:spPr>
        <p:txBody>
          <a:bodyPr>
            <a:normAutofit/>
          </a:bodyPr>
          <a:lstStyle>
            <a:lvl1pPr marL="0" indent="0">
              <a:lnSpc>
                <a:spcPts val="2000"/>
              </a:lnSpc>
              <a:spcAft>
                <a:spcPts val="1000"/>
              </a:spcAft>
              <a:buFont typeface="Arial" panose="020B0604020202020204" pitchFamily="34" charset="0"/>
              <a:buNone/>
              <a:defRPr sz="1800" b="0" cap="none">
                <a:latin typeface="+mj-lt"/>
              </a:defRPr>
            </a:lvl1pPr>
            <a:lvl2pPr marL="161925" indent="-161925">
              <a:lnSpc>
                <a:spcPts val="2000"/>
              </a:lnSpc>
              <a:spcAft>
                <a:spcPts val="1000"/>
              </a:spcAft>
              <a:buFont typeface="Arial" panose="020B0604020202020204" pitchFamily="34" charset="0"/>
              <a:buChar char="•"/>
              <a:defRPr sz="1800" b="0">
                <a:latin typeface="+mn-lt"/>
              </a:defRPr>
            </a:lvl2pPr>
            <a:lvl3pPr marL="352425" indent="-161925">
              <a:lnSpc>
                <a:spcPts val="2000"/>
              </a:lnSpc>
              <a:spcAft>
                <a:spcPts val="1000"/>
              </a:spcAft>
              <a:buFontTx/>
              <a:buChar char="-"/>
              <a:defRPr sz="1800" b="0">
                <a:latin typeface="+mn-lt"/>
              </a:defRPr>
            </a:lvl3pPr>
            <a:lvl4pPr marL="581025" indent="-161925">
              <a:lnSpc>
                <a:spcPts val="2000"/>
              </a:lnSpc>
              <a:spcAft>
                <a:spcPts val="1000"/>
              </a:spcAft>
              <a:buFont typeface="Arial" panose="020B0604020202020204" pitchFamily="34" charset="0"/>
              <a:buChar char="•"/>
              <a:defRPr sz="1800" b="0">
                <a:latin typeface="+mn-lt"/>
              </a:defRPr>
            </a:lvl4pPr>
            <a:lvl5pPr marL="733425" indent="-161925">
              <a:lnSpc>
                <a:spcPts val="2000"/>
              </a:lnSpc>
              <a:spcAft>
                <a:spcPts val="1000"/>
              </a:spcAft>
              <a:buFontTx/>
              <a:buChar char="-"/>
              <a:defRPr sz="18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66568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a:t>Click to edit Master title style</a:t>
            </a: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a:t>Copyright © 2019 Accenture All rights reserved.</a:t>
            </a:r>
          </a:p>
        </p:txBody>
      </p:sp>
      <p:sp>
        <p:nvSpPr>
          <p:cNvPr id="10" name="Inhaltsplatzhalter 9">
            <a:extLst>
              <a:ext uri="{FF2B5EF4-FFF2-40B4-BE49-F238E27FC236}">
                <a16:creationId xmlns:a16="http://schemas.microsoft.com/office/drawing/2014/main" id="{CA03F2D7-2EF8-452B-B7E7-ECCBE5981011}"/>
              </a:ext>
            </a:extLst>
          </p:cNvPr>
          <p:cNvSpPr>
            <a:spLocks noGrp="1"/>
          </p:cNvSpPr>
          <p:nvPr>
            <p:ph sz="quarter" idx="13" hasCustomPrompt="1"/>
          </p:nvPr>
        </p:nvSpPr>
        <p:spPr>
          <a:xfrm>
            <a:off x="381000" y="1808163"/>
            <a:ext cx="11430000" cy="4357687"/>
          </a:xfrm>
        </p:spPr>
        <p:txBody>
          <a:bodyPr/>
          <a:lstStyle>
            <a:lvl1pPr>
              <a:defRPr/>
            </a:lvl1pPr>
            <a:lvl2pPr>
              <a:defRPr/>
            </a:lvl2pPr>
            <a:lvl3pPr>
              <a:defRPr/>
            </a:lvl3pPr>
            <a:lvl4pPr>
              <a:defRPr/>
            </a:lvl4pPr>
            <a:lvl5pPr>
              <a:defRPr/>
            </a:lvl5pPr>
          </a:lstStyle>
          <a:p>
            <a:pPr lvl="0"/>
            <a:r>
              <a:rPr lang="en-US"/>
              <a:t>Edit Master text styles 1</a:t>
            </a:r>
          </a:p>
          <a:p>
            <a:pPr lvl="1"/>
            <a:r>
              <a:rPr lang="en-US"/>
              <a:t>Text 2</a:t>
            </a:r>
          </a:p>
          <a:p>
            <a:pPr lvl="2"/>
            <a:r>
              <a:rPr lang="en-US"/>
              <a:t>Text 3</a:t>
            </a:r>
          </a:p>
          <a:p>
            <a:pPr lvl="3"/>
            <a:r>
              <a:rPr lang="en-US"/>
              <a:t>Text 4</a:t>
            </a:r>
          </a:p>
          <a:p>
            <a:pPr lvl="4"/>
            <a:r>
              <a:rPr lang="en-US"/>
              <a:t>Text 5</a:t>
            </a:r>
          </a:p>
        </p:txBody>
      </p:sp>
    </p:spTree>
    <p:extLst>
      <p:ext uri="{BB962C8B-B14F-4D97-AF65-F5344CB8AC3E}">
        <p14:creationId xmlns:p14="http://schemas.microsoft.com/office/powerpoint/2010/main" val="230795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b="0"/>
            </a:lvl1pPr>
          </a:lstStyle>
          <a:p>
            <a:r>
              <a:rPr lang="en-US"/>
              <a:t>Click to edit Master title style</a:t>
            </a:r>
          </a:p>
        </p:txBody>
      </p:sp>
    </p:spTree>
    <p:extLst>
      <p:ext uri="{BB962C8B-B14F-4D97-AF65-F5344CB8AC3E}">
        <p14:creationId xmlns:p14="http://schemas.microsoft.com/office/powerpoint/2010/main" val="31316268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layout_2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solidFill>
                  <a:schemeClr val="bg1">
                    <a:lumMod val="50000"/>
                  </a:schemeClr>
                </a:solidFill>
              </a:defRPr>
            </a:lvl1pPr>
          </a:lstStyle>
          <a:p>
            <a:r>
              <a:rPr lang="en-US"/>
              <a:t>Copyright ©2018 Accenture. All rights reserved.</a:t>
            </a:r>
          </a:p>
        </p:txBody>
      </p:sp>
      <p:sp>
        <p:nvSpPr>
          <p:cNvPr id="5" name="Text Placeholder 4"/>
          <p:cNvSpPr>
            <a:spLocks noGrp="1"/>
          </p:cNvSpPr>
          <p:nvPr>
            <p:ph type="body" sz="quarter" idx="11"/>
          </p:nvPr>
        </p:nvSpPr>
        <p:spPr>
          <a:xfrm>
            <a:off x="381000" y="1943099"/>
            <a:ext cx="5536800" cy="414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2"/>
          </p:nvPr>
        </p:nvSpPr>
        <p:spPr>
          <a:xfrm>
            <a:off x="6274200" y="1943099"/>
            <a:ext cx="5536800" cy="414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p:cNvSpPr>
            <a:spLocks noGrp="1"/>
          </p:cNvSpPr>
          <p:nvPr>
            <p:ph type="sldNum" sz="quarter" idx="4"/>
          </p:nvPr>
        </p:nvSpPr>
        <p:spPr>
          <a:xfrm>
            <a:off x="11451000" y="6525600"/>
            <a:ext cx="360000" cy="180000"/>
          </a:xfrm>
          <a:prstGeom prst="rect">
            <a:avLst/>
          </a:prstGeom>
        </p:spPr>
        <p:txBody>
          <a:bodyPr vert="horz" lIns="0" tIns="0" rIns="0" bIns="0" rtlCol="0" anchor="b" anchorCtr="0"/>
          <a:lstStyle>
            <a:lvl1pPr algn="r">
              <a:defRPr sz="1200">
                <a:solidFill>
                  <a:schemeClr val="bg1">
                    <a:lumMod val="50000"/>
                  </a:schemeClr>
                </a:solidFill>
              </a:defRPr>
            </a:lvl1pPr>
          </a:lstStyle>
          <a:p>
            <a:fld id="{BE1D7AC9-097A-C748-9CAF-086618482517}" type="slidenum">
              <a:rPr lang="en-US" smtClean="0"/>
              <a:pPr/>
              <a:t>‹#›</a:t>
            </a:fld>
            <a:endParaRPr lang="en-US"/>
          </a:p>
        </p:txBody>
      </p:sp>
    </p:spTree>
    <p:extLst>
      <p:ext uri="{BB962C8B-B14F-4D97-AF65-F5344CB8AC3E}">
        <p14:creationId xmlns:p14="http://schemas.microsoft.com/office/powerpoint/2010/main" val="3321979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5F1FE0-C522-4A6E-9169-282B3139ECE2}"/>
              </a:ext>
            </a:extLst>
          </p:cNvPr>
          <p:cNvGraphicFramePr>
            <a:graphicFrameLocks noChangeAspect="1"/>
          </p:cNvGraphicFramePr>
          <p:nvPr userDrawn="1">
            <p:custDataLst>
              <p:tags r:id="rId1"/>
            </p:custDataLst>
            <p:extLst>
              <p:ext uri="{D42A27DB-BD31-4B8C-83A1-F6EECF244321}">
                <p14:modId xmlns:p14="http://schemas.microsoft.com/office/powerpoint/2010/main" val="354409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F5F1FE0-C522-4A6E-9169-282B3139EC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AF954D-A8B5-45A8-B252-B4A5F33237C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normAutofit/>
          </a:bodyPr>
          <a:lstStyle>
            <a:lvl1pPr>
              <a:defRPr sz="3200"/>
            </a:lvl1p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040541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Tree>
    <p:extLst>
      <p:ext uri="{BB962C8B-B14F-4D97-AF65-F5344CB8AC3E}">
        <p14:creationId xmlns:p14="http://schemas.microsoft.com/office/powerpoint/2010/main" val="307769492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B99C89-D81F-4096-9B0D-074C8C854148}"/>
              </a:ext>
            </a:extLst>
          </p:cNvPr>
          <p:cNvGraphicFramePr>
            <a:graphicFrameLocks noChangeAspect="1"/>
          </p:cNvGraphicFramePr>
          <p:nvPr userDrawn="1">
            <p:custDataLst>
              <p:tags r:id="rId1"/>
            </p:custDataLst>
            <p:extLst>
              <p:ext uri="{D42A27DB-BD31-4B8C-83A1-F6EECF244321}">
                <p14:modId xmlns:p14="http://schemas.microsoft.com/office/powerpoint/2010/main" val="439113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FB99C89-D81F-4096-9B0D-074C8C8541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EB1089-C912-46BF-BF90-738A542E5C7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normAutofit/>
          </a:bodyPr>
          <a:lstStyle>
            <a:lvl1pPr>
              <a:defRPr sz="3200"/>
            </a:lvl1p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640251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737585-BAE7-4EF3-B6A4-D54E5E98AA3D}"/>
              </a:ext>
            </a:extLst>
          </p:cNvPr>
          <p:cNvGraphicFramePr>
            <a:graphicFrameLocks noChangeAspect="1"/>
          </p:cNvGraphicFramePr>
          <p:nvPr userDrawn="1">
            <p:custDataLst>
              <p:tags r:id="rId1"/>
            </p:custDataLst>
            <p:extLst>
              <p:ext uri="{D42A27DB-BD31-4B8C-83A1-F6EECF244321}">
                <p14:modId xmlns:p14="http://schemas.microsoft.com/office/powerpoint/2010/main" val="3868820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5737585-BAE7-4EF3-B6A4-D54E5E98AA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22DF0B-34FC-41FF-A525-CC056CFC22A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9559798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935762-4394-48C3-90D0-57F2BC328407}"/>
              </a:ext>
            </a:extLst>
          </p:cNvPr>
          <p:cNvGraphicFramePr>
            <a:graphicFrameLocks noChangeAspect="1"/>
          </p:cNvGraphicFramePr>
          <p:nvPr userDrawn="1">
            <p:custDataLst>
              <p:tags r:id="rId1"/>
            </p:custDataLst>
            <p:extLst>
              <p:ext uri="{D42A27DB-BD31-4B8C-83A1-F6EECF244321}">
                <p14:modId xmlns:p14="http://schemas.microsoft.com/office/powerpoint/2010/main" val="208487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47935762-4394-48C3-90D0-57F2BC328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26C035-212C-48C8-A759-D72AC24022F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noAutofit/>
          </a:bodyPr>
          <a:lstStyle>
            <a:lvl1pPr>
              <a:defRPr sz="3200" b="0"/>
            </a:lvl1p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5503827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441B29-FD32-4D5E-87D7-C2BF45979085}"/>
              </a:ext>
            </a:extLst>
          </p:cNvPr>
          <p:cNvGraphicFramePr>
            <a:graphicFrameLocks noChangeAspect="1"/>
          </p:cNvGraphicFramePr>
          <p:nvPr userDrawn="1">
            <p:custDataLst>
              <p:tags r:id="rId1"/>
            </p:custDataLst>
            <p:extLst>
              <p:ext uri="{D42A27DB-BD31-4B8C-83A1-F6EECF244321}">
                <p14:modId xmlns:p14="http://schemas.microsoft.com/office/powerpoint/2010/main" val="63707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1441B29-FD32-4D5E-87D7-C2BF459790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FD49C5-8334-46EA-9817-324120800E8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11430000" cy="990601"/>
          </a:xfrm>
        </p:spPr>
        <p:txBody>
          <a:bodyPr>
            <a:normAutofit/>
          </a:bodyPr>
          <a:lstStyle>
            <a:lvl1pPr>
              <a:defRPr sz="3200" b="0"/>
            </a:lvl1p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42352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2C5F47-1F00-4FDA-BA0E-A1B49D2EDD64}"/>
              </a:ext>
            </a:extLst>
          </p:cNvPr>
          <p:cNvGraphicFramePr>
            <a:graphicFrameLocks noChangeAspect="1"/>
          </p:cNvGraphicFramePr>
          <p:nvPr userDrawn="1">
            <p:custDataLst>
              <p:tags r:id="rId1"/>
            </p:custDataLst>
            <p:extLst>
              <p:ext uri="{D42A27DB-BD31-4B8C-83A1-F6EECF244321}">
                <p14:modId xmlns:p14="http://schemas.microsoft.com/office/powerpoint/2010/main" val="103182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CA2C5F47-1F00-4FDA-BA0E-A1B49D2ED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20C6BF-CFFC-4D92-B428-054F2FB1D2D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normAutofit/>
          </a:bodyPr>
          <a:lstStyle>
            <a:lvl1pPr>
              <a:defRPr sz="3200" b="0"/>
            </a:lvl1pPr>
          </a:lstStyle>
          <a:p>
            <a:r>
              <a:rPr lang="en-US"/>
              <a:t>Click to edit Master title style</a:t>
            </a:r>
          </a:p>
        </p:txBody>
      </p:sp>
    </p:spTree>
    <p:extLst>
      <p:ext uri="{BB962C8B-B14F-4D97-AF65-F5344CB8AC3E}">
        <p14:creationId xmlns:p14="http://schemas.microsoft.com/office/powerpoint/2010/main" val="14604511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 2019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2804152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ivider: Black">
    <p:bg>
      <p:bgPr>
        <a:solidFill>
          <a:srgbClr val="71001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0" spc="-150" baseline="0">
                <a:solidFill>
                  <a:schemeClr val="tx1"/>
                </a:solidFill>
                <a:latin typeface="+mj-lt"/>
              </a:defRPr>
            </a:lvl1pPr>
            <a:lvl2pPr marL="0" indent="0">
              <a:lnSpc>
                <a:spcPct val="100000"/>
              </a:lnSpc>
              <a:spcAft>
                <a:spcPts val="600"/>
              </a:spcAft>
              <a:defRPr sz="4400" b="0" cap="none" baseline="0">
                <a:solidFill>
                  <a:schemeClr val="tx1"/>
                </a:solidFill>
                <a:latin typeface="+mn-lt"/>
              </a:defRPr>
            </a:lvl2pPr>
            <a:lvl3pPr marL="0" indent="0">
              <a:lnSpc>
                <a:spcPct val="100000"/>
              </a:lnSpc>
              <a:spcAft>
                <a:spcPts val="600"/>
              </a:spcAft>
              <a:defRPr sz="2800" b="0" cap="none" baseline="0">
                <a:solidFill>
                  <a:schemeClr val="tx1"/>
                </a:solidFill>
                <a:latin typeface="+mn-lt"/>
              </a:defRPr>
            </a:lvl3pPr>
            <a:lvl4pPr marL="0" indent="0">
              <a:lnSpc>
                <a:spcPct val="100000"/>
              </a:lnSpc>
              <a:spcAft>
                <a:spcPts val="600"/>
              </a:spcAft>
              <a:buNone/>
              <a:defRPr sz="2000" b="0" cap="none" baseline="0">
                <a:solidFill>
                  <a:schemeClr val="tx1"/>
                </a:solidFill>
                <a:latin typeface="+mn-lt"/>
              </a:defRPr>
            </a:lvl4pPr>
            <a:lvl5pPr marL="0" indent="0">
              <a:lnSpc>
                <a:spcPct val="100000"/>
              </a:lnSpc>
              <a:spcAft>
                <a:spcPts val="600"/>
              </a:spcAft>
              <a:buNone/>
              <a:defRPr sz="1200" b="0" cap="none" baseline="0">
                <a:solidFill>
                  <a:schemeClr val="tx1"/>
                </a:solidFill>
                <a:latin typeface="+mn-lt"/>
              </a:defRPr>
            </a:lvl5pPr>
            <a:lvl7pPr>
              <a:defRPr b="1">
                <a:latin typeface="+mn-lt"/>
              </a:defRPr>
            </a:lvl7pPr>
            <a:lvl8pPr>
              <a:defRPr>
                <a:latin typeface="+mn-lt"/>
              </a:defRPr>
            </a:lvl8pPr>
            <a:lvl9pPr>
              <a:defRPr>
                <a:latin typeface="+mn-lt"/>
              </a:defRPr>
            </a:lvl9pPr>
          </a:lstStyle>
          <a:p>
            <a:pPr lvl="0"/>
            <a:r>
              <a:rPr lang="en-US" err="1"/>
              <a:t>fIrst</a:t>
            </a:r>
            <a:r>
              <a:rPr lang="en-US"/>
              <a: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49194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EC8FDB24-DF8F-4ACC-9487-5B599DD42716}"/>
              </a:ext>
            </a:extLst>
          </p:cNvPr>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Footer Placeholder 5">
            <a:extLst>
              <a:ext uri="{FF2B5EF4-FFF2-40B4-BE49-F238E27FC236}">
                <a16:creationId xmlns:a16="http://schemas.microsoft.com/office/drawing/2014/main" id="{F0D011F8-5DD5-49BB-8B51-5066959FD35C}"/>
              </a:ext>
            </a:extLst>
          </p:cNvPr>
          <p:cNvSpPr>
            <a:spLocks noGrp="1"/>
          </p:cNvSpPr>
          <p:nvPr>
            <p:ph type="ftr" sz="quarter" idx="11"/>
          </p:nvPr>
        </p:nvSpPr>
        <p:spPr>
          <a:xfrm>
            <a:off x="381002" y="6519009"/>
            <a:ext cx="5714999" cy="206375"/>
          </a:xfrm>
        </p:spPr>
        <p:txBody>
          <a:bodyPr/>
          <a:lstStyle/>
          <a:p>
            <a:r>
              <a:rPr lang="en-US"/>
              <a:t>Copyright © 2019 Accenture. All rights reserved.</a:t>
            </a:r>
          </a:p>
        </p:txBody>
      </p:sp>
      <p:sp>
        <p:nvSpPr>
          <p:cNvPr id="5" name="Slide Number Placeholder 6">
            <a:extLst>
              <a:ext uri="{FF2B5EF4-FFF2-40B4-BE49-F238E27FC236}">
                <a16:creationId xmlns:a16="http://schemas.microsoft.com/office/drawing/2014/main" id="{9A7E7AF2-3963-4B36-A6FC-0A394B8B1D53}"/>
              </a:ext>
            </a:extLst>
          </p:cNvPr>
          <p:cNvSpPr>
            <a:spLocks noGrp="1"/>
          </p:cNvSpPr>
          <p:nvPr>
            <p:ph type="sldNum" sz="quarter" idx="12"/>
          </p:nvPr>
        </p:nvSpPr>
        <p:spPr>
          <a:xfrm>
            <a:off x="11506202" y="6519009"/>
            <a:ext cx="304799" cy="206375"/>
          </a:xfrm>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27875352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en-US"/>
              <a:t>| [IBM P9 Power Business Case] | [June 2019]</a:t>
            </a:r>
            <a:endParaRPr lang="fr-F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0868140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en-US"/>
              <a:t>| [IBM P9 Power Business Case] | [June 2019]</a:t>
            </a:r>
            <a:endParaRPr lang="fr-F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8308404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7"/>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65271656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en-US"/>
              <a:t>| [IBM P9 Power Business Case] | [June 2019]</a:t>
            </a:r>
            <a:endParaRPr lang="fr-F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6256010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en-US"/>
              <a:t>| [IBM P9 Power Business Case] | [June 2019]</a:t>
            </a:r>
            <a:endParaRPr lang="fr-F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7044926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03289126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382143597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32912207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a:stretch>
            <a:fillRect/>
          </a:stretch>
        </p:blipFill>
        <p:spPr>
          <a:xfrm>
            <a:off x="-3172" y="340801"/>
            <a:ext cx="2063109" cy="610599"/>
          </a:xfrm>
          <a:prstGeom prst="rect">
            <a:avLst/>
          </a:prstGeom>
        </p:spPr>
      </p:pic>
    </p:spTree>
    <p:extLst>
      <p:ext uri="{BB962C8B-B14F-4D97-AF65-F5344CB8AC3E}">
        <p14:creationId xmlns:p14="http://schemas.microsoft.com/office/powerpoint/2010/main" val="390262375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4"/>
            <a:ext cx="1537609" cy="685355"/>
          </a:xfrm>
          <a:prstGeom prst="rect">
            <a:avLst/>
          </a:prstGeom>
        </p:spPr>
      </p:pic>
    </p:spTree>
    <p:extLst>
      <p:ext uri="{BB962C8B-B14F-4D97-AF65-F5344CB8AC3E}">
        <p14:creationId xmlns:p14="http://schemas.microsoft.com/office/powerpoint/2010/main" val="245885624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15704693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1" y="277363"/>
            <a:ext cx="2315292" cy="685356"/>
          </a:xfrm>
          <a:prstGeom prst="rect">
            <a:avLst/>
          </a:prstGeom>
        </p:spPr>
      </p:pic>
    </p:spTree>
    <p:extLst>
      <p:ext uri="{BB962C8B-B14F-4D97-AF65-F5344CB8AC3E}">
        <p14:creationId xmlns:p14="http://schemas.microsoft.com/office/powerpoint/2010/main" val="7414607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a:stretch>
            <a:fillRect/>
          </a:stretch>
        </p:blipFill>
        <p:spPr>
          <a:xfrm>
            <a:off x="-3172" y="340801"/>
            <a:ext cx="2063109" cy="610599"/>
          </a:xfrm>
          <a:prstGeom prst="rect">
            <a:avLst/>
          </a:prstGeom>
        </p:spPr>
      </p:pic>
    </p:spTree>
    <p:extLst>
      <p:ext uri="{BB962C8B-B14F-4D97-AF65-F5344CB8AC3E}">
        <p14:creationId xmlns:p14="http://schemas.microsoft.com/office/powerpoint/2010/main" val="32624087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pic>
        <p:nvPicPr>
          <p:cNvPr id="14" name="Picture 13"/>
          <p:cNvPicPr>
            <a:picLocks noChangeAspect="1"/>
          </p:cNvPicPr>
          <p:nvPr userDrawn="1"/>
        </p:nvPicPr>
        <p:blipFill rotWithShape="1">
          <a:blip r:embed="rId4"/>
          <a:srcRect r="23305" b="53486"/>
          <a:stretch/>
        </p:blipFill>
        <p:spPr>
          <a:xfrm>
            <a:off x="5855433" y="2771099"/>
            <a:ext cx="6336569" cy="4086903"/>
          </a:xfrm>
          <a:prstGeom prst="rect">
            <a:avLst/>
          </a:prstGeom>
        </p:spPr>
      </p:pic>
    </p:spTree>
    <p:extLst>
      <p:ext uri="{BB962C8B-B14F-4D97-AF65-F5344CB8AC3E}">
        <p14:creationId xmlns:p14="http://schemas.microsoft.com/office/powerpoint/2010/main" val="60340135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98777761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30376" y="1411820"/>
            <a:ext cx="11331253"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dt" sz="half" idx="10"/>
          </p:nvPr>
        </p:nvSpPr>
        <p:spPr/>
        <p:txBody>
          <a:bodyPr/>
          <a:lstStyle>
            <a:lvl1pPr fontAlgn="auto">
              <a:spcBef>
                <a:spcPts val="0"/>
              </a:spcBef>
              <a:spcAft>
                <a:spcPts val="0"/>
              </a:spcAft>
              <a:defRPr b="0">
                <a:solidFill>
                  <a:schemeClr val="tx1"/>
                </a:solidFill>
              </a:defRPr>
            </a:lvl1pPr>
          </a:lstStyle>
          <a:p>
            <a:pPr>
              <a:defRPr/>
            </a:pPr>
            <a:fld id="{728BD2D4-1074-48E5-B298-9D0D7BA2922A}" type="datetime1">
              <a:rPr lang="en-US">
                <a:solidFill>
                  <a:srgbClr val="000000"/>
                </a:solidFill>
              </a:rPr>
              <a:pPr>
                <a:defRPr/>
              </a:pPr>
              <a:t>8/6/2021</a:t>
            </a:fld>
            <a:endParaRPr lang="en-US">
              <a:solidFill>
                <a:srgbClr val="000000"/>
              </a:solidFill>
            </a:endParaRPr>
          </a:p>
        </p:txBody>
      </p:sp>
      <p:sp>
        <p:nvSpPr>
          <p:cNvPr id="5" name="Rectangle 3"/>
          <p:cNvSpPr>
            <a:spLocks noGrp="1" noChangeArrowheads="1"/>
          </p:cNvSpPr>
          <p:nvPr>
            <p:ph type="ftr" sz="quarter" idx="11"/>
          </p:nvPr>
        </p:nvSpPr>
        <p:spPr/>
        <p:txBody>
          <a:bodyPr/>
          <a:lstStyle>
            <a:lvl1pPr fontAlgn="auto">
              <a:spcBef>
                <a:spcPts val="0"/>
              </a:spcBef>
              <a:spcAft>
                <a:spcPts val="0"/>
              </a:spcAft>
              <a:defRPr b="0" dirty="0">
                <a:solidFill>
                  <a:schemeClr val="tx1"/>
                </a:solidFill>
              </a:defRPr>
            </a:lvl1pPr>
          </a:lstStyle>
          <a:p>
            <a:pPr>
              <a:defRPr/>
            </a:pPr>
            <a:endParaRPr lang="en-US">
              <a:solidFill>
                <a:srgbClr val="000000"/>
              </a:solidFill>
            </a:endParaRPr>
          </a:p>
        </p:txBody>
      </p:sp>
      <p:sp>
        <p:nvSpPr>
          <p:cNvPr id="6" name="Rectangle 4"/>
          <p:cNvSpPr>
            <a:spLocks noGrp="1" noChangeArrowheads="1"/>
          </p:cNvSpPr>
          <p:nvPr>
            <p:ph type="sldNum" sz="quarter" idx="12"/>
          </p:nvPr>
        </p:nvSpPr>
        <p:spPr/>
        <p:txBody>
          <a:bodyPr/>
          <a:lstStyle>
            <a:lvl1pPr fontAlgn="auto">
              <a:spcBef>
                <a:spcPts val="0"/>
              </a:spcBef>
              <a:spcAft>
                <a:spcPts val="0"/>
              </a:spcAft>
              <a:defRPr b="0">
                <a:solidFill>
                  <a:schemeClr val="tx1"/>
                </a:solidFill>
              </a:defRPr>
            </a:lvl1pPr>
          </a:lstStyle>
          <a:p>
            <a:pPr>
              <a:defRPr/>
            </a:pPr>
            <a:fld id="{EC2C5EFB-4D23-4208-8647-3E7A700FE29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660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4644030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3" y="141183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3" y="346742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6262073" y="928079"/>
            <a:ext cx="6858000" cy="5001855"/>
          </a:xfrm>
          <a:prstGeom prst="rect">
            <a:avLst/>
          </a:prstGeom>
        </p:spPr>
      </p:pic>
    </p:spTree>
    <p:extLst>
      <p:ext uri="{BB962C8B-B14F-4D97-AF65-F5344CB8AC3E}">
        <p14:creationId xmlns:p14="http://schemas.microsoft.com/office/powerpoint/2010/main" val="371256715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30375" y="1411818"/>
            <a:ext cx="11331253"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dt" sz="half" idx="10"/>
          </p:nvPr>
        </p:nvSpPr>
        <p:spPr/>
        <p:txBody>
          <a:bodyPr/>
          <a:lstStyle>
            <a:lvl1pPr fontAlgn="auto">
              <a:spcBef>
                <a:spcPts val="0"/>
              </a:spcBef>
              <a:spcAft>
                <a:spcPts val="0"/>
              </a:spcAft>
              <a:defRPr b="0">
                <a:solidFill>
                  <a:schemeClr val="tx1"/>
                </a:solidFill>
              </a:defRPr>
            </a:lvl1pPr>
          </a:lstStyle>
          <a:p>
            <a:pPr>
              <a:defRPr/>
            </a:pPr>
            <a:fld id="{728BD2D4-1074-48E5-B298-9D0D7BA2922A}" type="datetime1">
              <a:rPr lang="en-US">
                <a:solidFill>
                  <a:srgbClr val="000000"/>
                </a:solidFill>
              </a:rPr>
              <a:pPr>
                <a:defRPr/>
              </a:pPr>
              <a:t>8/6/2021</a:t>
            </a:fld>
            <a:endParaRPr lang="en-US">
              <a:solidFill>
                <a:srgbClr val="000000"/>
              </a:solidFill>
            </a:endParaRPr>
          </a:p>
        </p:txBody>
      </p:sp>
      <p:sp>
        <p:nvSpPr>
          <p:cNvPr id="5" name="Rectangle 3"/>
          <p:cNvSpPr>
            <a:spLocks noGrp="1" noChangeArrowheads="1"/>
          </p:cNvSpPr>
          <p:nvPr>
            <p:ph type="ftr" sz="quarter" idx="11"/>
          </p:nvPr>
        </p:nvSpPr>
        <p:spPr/>
        <p:txBody>
          <a:bodyPr/>
          <a:lstStyle>
            <a:lvl1pPr fontAlgn="auto">
              <a:spcBef>
                <a:spcPts val="0"/>
              </a:spcBef>
              <a:spcAft>
                <a:spcPts val="0"/>
              </a:spcAft>
              <a:defRPr b="0" dirty="0">
                <a:solidFill>
                  <a:schemeClr val="tx1"/>
                </a:solidFill>
              </a:defRPr>
            </a:lvl1pPr>
          </a:lstStyle>
          <a:p>
            <a:pPr>
              <a:defRPr/>
            </a:pPr>
            <a:endParaRPr lang="en-US">
              <a:solidFill>
                <a:srgbClr val="000000"/>
              </a:solidFill>
            </a:endParaRPr>
          </a:p>
        </p:txBody>
      </p:sp>
      <p:sp>
        <p:nvSpPr>
          <p:cNvPr id="6" name="Rectangle 4"/>
          <p:cNvSpPr>
            <a:spLocks noGrp="1" noChangeArrowheads="1"/>
          </p:cNvSpPr>
          <p:nvPr>
            <p:ph type="sldNum" sz="quarter" idx="12"/>
          </p:nvPr>
        </p:nvSpPr>
        <p:spPr/>
        <p:txBody>
          <a:bodyPr/>
          <a:lstStyle>
            <a:lvl1pPr fontAlgn="auto">
              <a:spcBef>
                <a:spcPts val="0"/>
              </a:spcBef>
              <a:spcAft>
                <a:spcPts val="0"/>
              </a:spcAft>
              <a:defRPr b="0">
                <a:solidFill>
                  <a:schemeClr val="tx1"/>
                </a:solidFill>
              </a:defRPr>
            </a:lvl1pPr>
          </a:lstStyle>
          <a:p>
            <a:pPr>
              <a:defRPr/>
            </a:pPr>
            <a:fld id="{EC2C5EFB-4D23-4208-8647-3E7A700FE29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74397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21" Type="http://schemas.openxmlformats.org/officeDocument/2006/relationships/oleObject" Target="../embeddings/oleObject1.bin"/><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ags" Target="../tags/tag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oleObject" Target="../embeddings/oleObject8.bin"/><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12.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11.xml"/><Relationship Id="rId5" Type="http://schemas.openxmlformats.org/officeDocument/2006/relationships/slideLayout" Target="../slideLayouts/slideLayout43.xml"/><Relationship Id="rId10" Type="http://schemas.openxmlformats.org/officeDocument/2006/relationships/theme" Target="../theme/theme4.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1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5.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1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5" y="6320502"/>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18" algn="l"/>
              </a:tabLst>
            </a:pPr>
            <a:r>
              <a:rPr lang="fr-FR" sz="1467" b="1"/>
              <a:t>National Grid </a:t>
            </a:r>
          </a:p>
        </p:txBody>
      </p:sp>
    </p:spTree>
    <p:extLst>
      <p:ext uri="{BB962C8B-B14F-4D97-AF65-F5344CB8AC3E}">
        <p14:creationId xmlns:p14="http://schemas.microsoft.com/office/powerpoint/2010/main" val="1030417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745" r:id="rId9"/>
    <p:sldLayoutId id="2147483746" r:id="rId10"/>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5" y="6320502"/>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18" algn="l"/>
              </a:tabLst>
            </a:pPr>
            <a:r>
              <a:rPr lang="fr-FR" sz="1467" b="1"/>
              <a:t>National Grid </a:t>
            </a:r>
          </a:p>
        </p:txBody>
      </p:sp>
    </p:spTree>
    <p:extLst>
      <p:ext uri="{BB962C8B-B14F-4D97-AF65-F5344CB8AC3E}">
        <p14:creationId xmlns:p14="http://schemas.microsoft.com/office/powerpoint/2010/main" val="327066097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1" imgW="425" imgH="426" progId="TCLayout.ActiveDocument.1">
                  <p:embed/>
                </p:oleObj>
              </mc:Choice>
              <mc:Fallback>
                <p:oleObj name="think-cell Folie" r:id="rId21" imgW="425" imgH="426" progId="TCLayout.ActiveDocument.1">
                  <p:embed/>
                  <p:pic>
                    <p:nvPicPr>
                      <p:cNvPr id="6" name="Objekt 5"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D46ED98-0623-47E6-9825-23D46E43767A}"/>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Graphik Black" panose="020B0A03030202060203" pitchFamily="34" charset="0"/>
              <a:ea typeface="+mj-ea"/>
              <a:cs typeface="+mj-cs"/>
              <a:sym typeface="Graphik Black" panose="020B0A03030202060203"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81000" y="1763713"/>
            <a:ext cx="11430000" cy="4686300"/>
          </a:xfrm>
          <a:prstGeom prst="rect">
            <a:avLst/>
          </a:prstGeom>
        </p:spPr>
        <p:txBody>
          <a:bodyPr vert="horz" lIns="0" tIns="0" rIns="0" bIns="0" rtlCol="0">
            <a:noAutofit/>
          </a:bodyPr>
          <a:lstStyle/>
          <a:p>
            <a:pPr lvl="0"/>
            <a:r>
              <a:rPr lang="en-US"/>
              <a:t>Edit Master text styles 1</a:t>
            </a:r>
          </a:p>
          <a:p>
            <a:pPr lvl="1"/>
            <a:r>
              <a:rPr lang="en-US"/>
              <a:t>Text 2</a:t>
            </a:r>
          </a:p>
          <a:p>
            <a:pPr lvl="2"/>
            <a:r>
              <a:rPr lang="en-US"/>
              <a:t>Text 3</a:t>
            </a:r>
          </a:p>
          <a:p>
            <a:pPr lvl="3"/>
            <a:r>
              <a:rPr lang="en-US"/>
              <a:t>Text 4</a:t>
            </a:r>
          </a:p>
          <a:p>
            <a:pPr lvl="4"/>
            <a:r>
              <a:rPr lang="en-US"/>
              <a:t>Text 5</a:t>
            </a:r>
          </a:p>
        </p:txBody>
      </p:sp>
      <p:sp>
        <p:nvSpPr>
          <p:cNvPr id="4" name="Slide Number Placeholder 5"/>
          <p:cNvSpPr>
            <a:spLocks noGrp="1"/>
          </p:cNvSpPr>
          <p:nvPr>
            <p:ph type="sldNum" sz="quarter" idx="4"/>
          </p:nvPr>
        </p:nvSpPr>
        <p:spPr>
          <a:xfrm>
            <a:off x="11072619" y="6381686"/>
            <a:ext cx="770951" cy="192287"/>
          </a:xfrm>
          <a:prstGeom prst="rect">
            <a:avLst/>
          </a:prstGeom>
        </p:spPr>
        <p:txBody>
          <a:bodyPr vert="horz" lIns="0" tIns="0" rIns="0" bIns="0" rtlCol="0" anchor="ctr" anchorCtr="0"/>
          <a:lstStyle>
            <a:lvl1pPr algn="r">
              <a:defRPr sz="1000" b="0" i="0">
                <a:solidFill>
                  <a:schemeClr val="tx2"/>
                </a:solidFill>
                <a:latin typeface="+mn-lt"/>
              </a:defRPr>
            </a:lvl1pPr>
          </a:lstStyle>
          <a:p>
            <a:fld id="{0D558541-60C9-42A2-8392-FF12533A6B7A}" type="slidenum">
              <a:rPr lang="en-US" smtClean="0">
                <a:solidFill>
                  <a:srgbClr val="919191"/>
                </a:solidFill>
              </a:rPr>
              <a:pPr/>
              <a:t>‹#›</a:t>
            </a:fld>
            <a:endParaRPr lang="en-US">
              <a:solidFill>
                <a:srgbClr val="919191"/>
              </a:solidFill>
            </a:endParaRP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spAutoFit/>
          </a:bodyPr>
          <a:lstStyle>
            <a:lvl1pPr algn="l">
              <a:defRPr lang="en-AU" sz="900" b="0" i="0">
                <a:solidFill>
                  <a:schemeClr val="tx2"/>
                </a:solidFill>
              </a:defRPr>
            </a:lvl1pPr>
          </a:lstStyle>
          <a:p>
            <a:pPr defTabSz="1087106"/>
            <a:r>
              <a:rPr lang="en-US">
                <a:solidFill>
                  <a:srgbClr val="919191"/>
                </a:solidFill>
              </a:rPr>
              <a:t>Copyright © 2019 Accenture All rights reserved.</a:t>
            </a:r>
          </a:p>
        </p:txBody>
      </p:sp>
    </p:spTree>
    <p:extLst>
      <p:ext uri="{BB962C8B-B14F-4D97-AF65-F5344CB8AC3E}">
        <p14:creationId xmlns:p14="http://schemas.microsoft.com/office/powerpoint/2010/main" val="271230011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Lst>
  <p:hf hdr="0" dt="0"/>
  <p:txStyles>
    <p:titleStyle>
      <a:lvl1pPr marL="0" indent="0" algn="l" defTabSz="914377" rtl="0" eaLnBrk="1" latinLnBrk="0" hangingPunct="1">
        <a:lnSpc>
          <a:spcPct val="70000"/>
        </a:lnSpc>
        <a:spcBef>
          <a:spcPct val="0"/>
        </a:spcBef>
        <a:buNone/>
        <a:defRPr sz="3200" b="0" kern="1200" cap="all" spc="-150" baseline="0">
          <a:solidFill>
            <a:schemeClr val="tx1"/>
          </a:solidFill>
          <a:latin typeface="+mj-lt"/>
          <a:ea typeface="+mj-ea"/>
          <a:cs typeface="+mj-cs"/>
        </a:defRPr>
      </a:lvl1pPr>
    </p:titleStyle>
    <p:body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3"/>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7">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7715E0-5BB1-41A4-9224-1A3DEB59DB92}"/>
              </a:ext>
            </a:extLst>
          </p:cNvPr>
          <p:cNvGraphicFramePr>
            <a:graphicFrameLocks noChangeAspect="1"/>
          </p:cNvGraphicFramePr>
          <p:nvPr userDrawn="1">
            <p:custDataLst>
              <p:tags r:id="rId11"/>
            </p:custDataLst>
            <p:extLst>
              <p:ext uri="{D42A27DB-BD31-4B8C-83A1-F6EECF244321}">
                <p14:modId xmlns:p14="http://schemas.microsoft.com/office/powerpoint/2010/main" val="343597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Object 6" hidden="1">
                        <a:extLst>
                          <a:ext uri="{FF2B5EF4-FFF2-40B4-BE49-F238E27FC236}">
                            <a16:creationId xmlns:a16="http://schemas.microsoft.com/office/drawing/2014/main" id="{207715E0-5BB1-41A4-9224-1A3DEB59DB9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AC646FF-B4AE-4ABA-BC44-1E567697D54E}"/>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32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19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984843023"/>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Lst>
  <p:hf hdr="0"/>
  <p:txStyles>
    <p:titleStyle>
      <a:lvl1pPr marL="0" indent="0" algn="l" defTabSz="914377" rtl="0" eaLnBrk="1" latinLnBrk="0" hangingPunct="1">
        <a:lnSpc>
          <a:spcPct val="70000"/>
        </a:lnSpc>
        <a:spcBef>
          <a:spcPct val="0"/>
        </a:spcBef>
        <a:buNone/>
        <a:defRPr sz="3200" b="0"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20502"/>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1" y="6320502"/>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en-US"/>
              <a:t>| [IBM P9 Power Business Case] | [June 2019]</a:t>
            </a:r>
            <a:endParaRPr lang="fr-F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Tree>
    <p:extLst>
      <p:ext uri="{BB962C8B-B14F-4D97-AF65-F5344CB8AC3E}">
        <p14:creationId xmlns:p14="http://schemas.microsoft.com/office/powerpoint/2010/main" val="200018114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Lst>
  <p:transition>
    <p:fade/>
  </p:transition>
  <p:hf sldNum="0" hdr="0" ft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61.xml"/><Relationship Id="rId5" Type="http://schemas.openxmlformats.org/officeDocument/2006/relationships/image" Target="../media/image45.sv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jpeg"/><Relationship Id="rId1" Type="http://schemas.openxmlformats.org/officeDocument/2006/relationships/slideLayout" Target="../slideLayouts/slideLayout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jpeg"/></Relationships>
</file>

<file path=ppt/slides/_rels/slide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9" Type="http://schemas.openxmlformats.org/officeDocument/2006/relationships/notesSlide" Target="../notesSlides/notesSlide8.xml"/><Relationship Id="rId3" Type="http://schemas.openxmlformats.org/officeDocument/2006/relationships/tags" Target="../tags/tag27.xml"/><Relationship Id="rId21" Type="http://schemas.openxmlformats.org/officeDocument/2006/relationships/tags" Target="../tags/tag45.xml"/><Relationship Id="rId34" Type="http://schemas.openxmlformats.org/officeDocument/2006/relationships/tags" Target="../tags/tag58.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tags" Target="../tags/tag57.xml"/><Relationship Id="rId38" Type="http://schemas.openxmlformats.org/officeDocument/2006/relationships/slideLayout" Target="../slideLayouts/slideLayout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tags" Target="../tags/tag53.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tags" Target="../tags/tag56.xml"/><Relationship Id="rId37" Type="http://schemas.openxmlformats.org/officeDocument/2006/relationships/tags" Target="../tags/tag61.xml"/><Relationship Id="rId40" Type="http://schemas.openxmlformats.org/officeDocument/2006/relationships/image" Target="../media/image57.png"/><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tags" Target="../tags/tag60.xm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tags" Target="../tags/tag55.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 Id="rId35" Type="http://schemas.openxmlformats.org/officeDocument/2006/relationships/tags" Target="../tags/tag59.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9.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notesSlide" Target="../notesSlides/notesSlide2.xml"/><Relationship Id="rId16" Type="http://schemas.openxmlformats.org/officeDocument/2006/relationships/image" Target="../media/image36.svg"/><Relationship Id="rId1" Type="http://schemas.openxmlformats.org/officeDocument/2006/relationships/slideLayout" Target="../slideLayouts/slideLayout9.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3.png"/><Relationship Id="rId18" Type="http://schemas.openxmlformats.org/officeDocument/2006/relationships/image" Target="../media/image41.png"/><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notesSlide" Target="../notesSlides/notesSlide3.xml"/><Relationship Id="rId16" Type="http://schemas.openxmlformats.org/officeDocument/2006/relationships/image" Target="../media/image36.svg"/><Relationship Id="rId1" Type="http://schemas.openxmlformats.org/officeDocument/2006/relationships/slideLayout" Target="../slideLayouts/slideLayout9.xml"/><Relationship Id="rId6" Type="http://schemas.openxmlformats.org/officeDocument/2006/relationships/image" Target="../media/image28.svg"/><Relationship Id="rId11" Type="http://schemas.openxmlformats.org/officeDocument/2006/relationships/image" Target="../media/image31.png"/><Relationship Id="rId5" Type="http://schemas.openxmlformats.org/officeDocument/2006/relationships/image" Target="../media/image27.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42.sv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261" y="1411818"/>
            <a:ext cx="5378452" cy="1157385"/>
          </a:xfrm>
        </p:spPr>
        <p:txBody>
          <a:bodyPr>
            <a:normAutofit/>
          </a:bodyPr>
          <a:lstStyle/>
          <a:p>
            <a:r>
              <a:rPr lang="en-US"/>
              <a:t>Workforce </a:t>
            </a:r>
            <a:br>
              <a:rPr lang="en-US"/>
            </a:br>
            <a:r>
              <a:rPr lang="en-US"/>
              <a:t>Systems of Record</a:t>
            </a:r>
            <a:endParaRPr lang="en-GB" sz="3200"/>
          </a:p>
        </p:txBody>
      </p:sp>
      <p:sp>
        <p:nvSpPr>
          <p:cNvPr id="3" name="Text Placeholder 2"/>
          <p:cNvSpPr>
            <a:spLocks noGrp="1"/>
          </p:cNvSpPr>
          <p:nvPr>
            <p:ph type="body" sz="quarter" idx="10"/>
          </p:nvPr>
        </p:nvSpPr>
        <p:spPr>
          <a:xfrm>
            <a:off x="440261" y="3467400"/>
            <a:ext cx="5378452" cy="1231107"/>
          </a:xfrm>
        </p:spPr>
        <p:txBody>
          <a:bodyPr>
            <a:normAutofit/>
          </a:bodyPr>
          <a:lstStyle/>
          <a:p>
            <a:r>
              <a:rPr lang="en-US"/>
              <a:t>Presentation to Andi Karaboutis</a:t>
            </a:r>
          </a:p>
        </p:txBody>
      </p:sp>
      <p:sp>
        <p:nvSpPr>
          <p:cNvPr id="5" name="Rectangle 4">
            <a:extLst>
              <a:ext uri="{FF2B5EF4-FFF2-40B4-BE49-F238E27FC236}">
                <a16:creationId xmlns:a16="http://schemas.microsoft.com/office/drawing/2014/main" id="{EF0A597B-644B-487B-895A-1E82DC57470D}"/>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Tree>
    <p:extLst>
      <p:ext uri="{BB962C8B-B14F-4D97-AF65-F5344CB8AC3E}">
        <p14:creationId xmlns:p14="http://schemas.microsoft.com/office/powerpoint/2010/main" val="136374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FABFDB32-38D5-48B1-8632-BED2891955D9}"/>
              </a:ext>
            </a:extLst>
          </p:cNvPr>
          <p:cNvSpPr/>
          <p:nvPr/>
        </p:nvSpPr>
        <p:spPr bwMode="auto">
          <a:xfrm>
            <a:off x="2535168" y="6018863"/>
            <a:ext cx="7880685"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70" fontAlgn="base">
              <a:spcBef>
                <a:spcPct val="0"/>
              </a:spcBef>
              <a:spcAft>
                <a:spcPts val="600"/>
              </a:spcAft>
              <a:buClr>
                <a:srgbClr val="55555A"/>
              </a:buClr>
            </a:pPr>
            <a:endParaRPr lang="en-US" sz="2400" b="1" kern="0" err="1">
              <a:solidFill>
                <a:srgbClr val="FFFFFF"/>
              </a:solidFill>
              <a:latin typeface="Arial"/>
              <a:ea typeface="ＭＳ Ｐゴシック"/>
              <a:cs typeface="Arial"/>
            </a:endParaRPr>
          </a:p>
        </p:txBody>
      </p:sp>
      <p:sp>
        <p:nvSpPr>
          <p:cNvPr id="3" name="Rectangle 2">
            <a:extLst>
              <a:ext uri="{FF2B5EF4-FFF2-40B4-BE49-F238E27FC236}">
                <a16:creationId xmlns:a16="http://schemas.microsoft.com/office/drawing/2014/main" id="{7E5803AA-C9CD-4891-AD8A-91EF4AE348F8}"/>
              </a:ext>
            </a:extLst>
          </p:cNvPr>
          <p:cNvSpPr/>
          <p:nvPr/>
        </p:nvSpPr>
        <p:spPr>
          <a:xfrm>
            <a:off x="425357" y="4563357"/>
            <a:ext cx="5480992" cy="1200329"/>
          </a:xfrm>
          <a:prstGeom prst="rect">
            <a:avLst/>
          </a:prstGeom>
          <a:solidFill>
            <a:srgbClr val="00148C"/>
          </a:solidFill>
        </p:spPr>
        <p:txBody>
          <a:bodyPr wrap="square">
            <a:spAutoFit/>
          </a:bodyPr>
          <a:lstStyle/>
          <a:p>
            <a:pPr marL="285744" indent="-285744" defTabSz="914354">
              <a:buFont typeface="Arial" panose="020B0604020202020204" pitchFamily="34" charset="0"/>
              <a:buChar char="•"/>
            </a:pPr>
            <a:r>
              <a:rPr lang="en-US" sz="1200" kern="0">
                <a:solidFill>
                  <a:srgbClr val="FFFFFF"/>
                </a:solidFill>
                <a:latin typeface="Arial" panose="020B0604020202020204" pitchFamily="34" charset="0"/>
                <a:ea typeface="MS Gothic" panose="020B0609070205080204" pitchFamily="49" charset="-128"/>
                <a:cs typeface="Arial" panose="020B0604020202020204" pitchFamily="34" charset="0"/>
              </a:rPr>
              <a:t>Lack of single master data source for all workforce, due to multiple source systems</a:t>
            </a:r>
          </a:p>
          <a:p>
            <a:pPr marL="285744" indent="-285744" defTabSz="914354">
              <a:buFont typeface="Arial" panose="020B0604020202020204" pitchFamily="34" charset="0"/>
              <a:buChar char="•"/>
            </a:pPr>
            <a:r>
              <a:rPr lang="en-US" sz="1200" kern="0">
                <a:solidFill>
                  <a:srgbClr val="FFFFFF"/>
                </a:solidFill>
                <a:latin typeface="Arial" panose="020B0604020202020204" pitchFamily="34" charset="0"/>
                <a:ea typeface="MS Gothic" panose="020B0609070205080204" pitchFamily="49" charset="-128"/>
                <a:cs typeface="Arial" panose="020B0604020202020204" pitchFamily="34" charset="0"/>
              </a:rPr>
              <a:t>120+ direct interfaces from workforce source systems causing significant impact to business processes and transformational projects such as MyHUB 2.0</a:t>
            </a:r>
          </a:p>
          <a:p>
            <a:pPr marL="285744" indent="-285744" defTabSz="914354">
              <a:buFont typeface="Arial" panose="020B0604020202020204" pitchFamily="34" charset="0"/>
              <a:buChar char="•"/>
            </a:pPr>
            <a:r>
              <a:rPr lang="en-US" sz="1200" kern="0">
                <a:solidFill>
                  <a:srgbClr val="FFFFFF"/>
                </a:solidFill>
                <a:latin typeface="Arial" panose="020B0604020202020204" pitchFamily="34" charset="0"/>
                <a:ea typeface="MS Gothic" panose="020B0609070205080204" pitchFamily="49" charset="-128"/>
                <a:cs typeface="Arial" panose="020B0604020202020204" pitchFamily="34" charset="0"/>
              </a:rPr>
              <a:t>Headcount reporting issues across HR and Finance systems</a:t>
            </a:r>
            <a:endParaRPr lang="en-GB" sz="1200" kern="0">
              <a:solidFill>
                <a:srgbClr val="FFFFFF"/>
              </a:solidFill>
              <a:latin typeface="Arial" panose="020B0604020202020204" pitchFamily="34" charset="0"/>
              <a:ea typeface="MS Gothic" panose="020B0609070205080204" pitchFamily="49" charset="-128"/>
              <a:cs typeface="Arial" panose="020B0604020202020204" pitchFamily="34" charset="0"/>
            </a:endParaRPr>
          </a:p>
        </p:txBody>
      </p:sp>
      <p:sp>
        <p:nvSpPr>
          <p:cNvPr id="56" name="Title 8">
            <a:extLst>
              <a:ext uri="{FF2B5EF4-FFF2-40B4-BE49-F238E27FC236}">
                <a16:creationId xmlns:a16="http://schemas.microsoft.com/office/drawing/2014/main" id="{7F82A6B4-8DFF-4BB4-A272-A5594EADF6B9}"/>
              </a:ext>
            </a:extLst>
          </p:cNvPr>
          <p:cNvSpPr>
            <a:spLocks noGrp="1"/>
          </p:cNvSpPr>
          <p:nvPr>
            <p:ph type="title"/>
          </p:nvPr>
        </p:nvSpPr>
        <p:spPr>
          <a:xfrm>
            <a:off x="172333" y="81723"/>
            <a:ext cx="9052588" cy="505019"/>
          </a:xfrm>
        </p:spPr>
        <p:txBody>
          <a:bodyPr/>
          <a:lstStyle/>
          <a:p>
            <a:r>
              <a:rPr lang="en-US"/>
              <a:t>How MDM helps Workforce data domain?</a:t>
            </a:r>
          </a:p>
        </p:txBody>
      </p:sp>
      <p:sp>
        <p:nvSpPr>
          <p:cNvPr id="231" name="Rectangle 230">
            <a:extLst>
              <a:ext uri="{FF2B5EF4-FFF2-40B4-BE49-F238E27FC236}">
                <a16:creationId xmlns:a16="http://schemas.microsoft.com/office/drawing/2014/main" id="{6BD82F0B-9331-4013-AD80-959C173ED058}"/>
              </a:ext>
            </a:extLst>
          </p:cNvPr>
          <p:cNvSpPr/>
          <p:nvPr/>
        </p:nvSpPr>
        <p:spPr>
          <a:xfrm>
            <a:off x="6276221" y="4589793"/>
            <a:ext cx="5480992" cy="1015663"/>
          </a:xfrm>
          <a:prstGeom prst="rect">
            <a:avLst/>
          </a:prstGeom>
          <a:solidFill>
            <a:srgbClr val="00148C"/>
          </a:solidFill>
        </p:spPr>
        <p:txBody>
          <a:bodyPr wrap="square">
            <a:spAutoFit/>
          </a:bodyPr>
          <a:lstStyle/>
          <a:p>
            <a:pPr marL="285744" indent="-285744" defTabSz="914354">
              <a:buFont typeface="Arial" panose="020B0604020202020204" pitchFamily="34" charset="0"/>
              <a:buChar char="•"/>
            </a:pPr>
            <a:r>
              <a:rPr lang="en-GB" sz="1200" kern="0">
                <a:solidFill>
                  <a:srgbClr val="FFFFFF"/>
                </a:solidFill>
                <a:latin typeface="Arial"/>
                <a:ea typeface="ＭＳ Ｐゴシック"/>
                <a:cs typeface="Arial"/>
              </a:rPr>
              <a:t>Consolidate master data from multiple source systems</a:t>
            </a:r>
          </a:p>
          <a:p>
            <a:pPr marL="285744" indent="-285744" defTabSz="914354">
              <a:buFont typeface="Arial" panose="020B0604020202020204" pitchFamily="34" charset="0"/>
              <a:buChar char="•"/>
            </a:pPr>
            <a:r>
              <a:rPr lang="en-US" sz="1200" kern="0">
                <a:solidFill>
                  <a:srgbClr val="FFFFFF"/>
                </a:solidFill>
                <a:latin typeface="Arial"/>
                <a:ea typeface="ＭＳ Ｐゴシック"/>
                <a:cs typeface="Arial"/>
              </a:rPr>
              <a:t>Golden</a:t>
            </a:r>
            <a:r>
              <a:rPr lang="en-GB" sz="1200" kern="0">
                <a:solidFill>
                  <a:srgbClr val="FFFFFF"/>
                </a:solidFill>
                <a:latin typeface="Arial"/>
                <a:ea typeface="ＭＳ Ｐゴシック"/>
                <a:cs typeface="Arial"/>
              </a:rPr>
              <a:t> master</a:t>
            </a:r>
            <a:r>
              <a:rPr lang="en-US" sz="1200" kern="0">
                <a:solidFill>
                  <a:srgbClr val="FFFFFF"/>
                </a:solidFill>
                <a:latin typeface="Arial"/>
                <a:ea typeface="ＭＳ Ｐゴシック"/>
                <a:cs typeface="Arial"/>
              </a:rPr>
              <a:t> data record definition will help </a:t>
            </a:r>
            <a:r>
              <a:rPr lang="en-GB" sz="1200" kern="0">
                <a:solidFill>
                  <a:srgbClr val="FFFFFF"/>
                </a:solidFill>
                <a:latin typeface="Arial"/>
                <a:ea typeface="ＭＳ Ｐゴシック"/>
                <a:cs typeface="Arial"/>
              </a:rPr>
              <a:t>improve data quality </a:t>
            </a:r>
          </a:p>
          <a:p>
            <a:pPr marL="285744" indent="-285744" defTabSz="914354">
              <a:buFont typeface="Arial" panose="020B0604020202020204" pitchFamily="34" charset="0"/>
              <a:buChar char="•"/>
            </a:pPr>
            <a:r>
              <a:rPr lang="en-US" sz="1200" kern="0">
                <a:solidFill>
                  <a:srgbClr val="FFFFFF"/>
                </a:solidFill>
                <a:latin typeface="Arial" panose="020B0604020202020204" pitchFamily="34" charset="0"/>
                <a:ea typeface="MS Gothic" panose="020B0609070205080204" pitchFamily="49" charset="-128"/>
                <a:cs typeface="Arial" panose="020B0604020202020204" pitchFamily="34" charset="0"/>
              </a:rPr>
              <a:t>Reduce complexity for downstream extracts/interfaces</a:t>
            </a:r>
          </a:p>
          <a:p>
            <a:pPr marL="285744" indent="-285744" defTabSz="914354">
              <a:buFont typeface="Arial" panose="020B0604020202020204" pitchFamily="34" charset="0"/>
              <a:buChar char="•"/>
            </a:pPr>
            <a:r>
              <a:rPr lang="en-US" sz="1200" kern="0">
                <a:solidFill>
                  <a:srgbClr val="FFFFFF"/>
                </a:solidFill>
                <a:latin typeface="Arial" panose="020B0604020202020204" pitchFamily="34" charset="0"/>
                <a:ea typeface="MS Gothic" panose="020B0609070205080204" pitchFamily="49" charset="-128"/>
                <a:cs typeface="Arial" panose="020B0604020202020204" pitchFamily="34" charset="0"/>
              </a:rPr>
              <a:t>MDM provides ability to create downstream single version of truth for reporting</a:t>
            </a:r>
            <a:endParaRPr lang="en-GB" sz="1200" kern="0">
              <a:solidFill>
                <a:srgbClr val="FFFFFF"/>
              </a:solidFill>
              <a:latin typeface="Arial" panose="020B0604020202020204" pitchFamily="34" charset="0"/>
              <a:ea typeface="MS Gothic" panose="020B0609070205080204" pitchFamily="49" charset="-128"/>
              <a:cs typeface="Arial" panose="020B0604020202020204" pitchFamily="34" charset="0"/>
            </a:endParaRPr>
          </a:p>
        </p:txBody>
      </p:sp>
      <p:sp>
        <p:nvSpPr>
          <p:cNvPr id="199" name="Flowchart: Magnetic Disk 198">
            <a:extLst>
              <a:ext uri="{FF2B5EF4-FFF2-40B4-BE49-F238E27FC236}">
                <a16:creationId xmlns:a16="http://schemas.microsoft.com/office/drawing/2014/main" id="{4C761DDF-4978-40D1-A89F-1D77930A47AB}"/>
              </a:ext>
            </a:extLst>
          </p:cNvPr>
          <p:cNvSpPr/>
          <p:nvPr/>
        </p:nvSpPr>
        <p:spPr bwMode="auto">
          <a:xfrm>
            <a:off x="6768795" y="1830761"/>
            <a:ext cx="862893" cy="450225"/>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MyHub</a:t>
            </a:r>
          </a:p>
        </p:txBody>
      </p:sp>
      <p:sp>
        <p:nvSpPr>
          <p:cNvPr id="200" name="Flowchart: Magnetic Disk 199">
            <a:extLst>
              <a:ext uri="{FF2B5EF4-FFF2-40B4-BE49-F238E27FC236}">
                <a16:creationId xmlns:a16="http://schemas.microsoft.com/office/drawing/2014/main" id="{60D86C6A-4639-4391-B514-88A3C142DA10}"/>
              </a:ext>
            </a:extLst>
          </p:cNvPr>
          <p:cNvSpPr/>
          <p:nvPr/>
        </p:nvSpPr>
        <p:spPr bwMode="auto">
          <a:xfrm>
            <a:off x="10034182" y="1804795"/>
            <a:ext cx="778353" cy="465647"/>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SAP ECC (US)</a:t>
            </a:r>
          </a:p>
        </p:txBody>
      </p:sp>
      <p:sp>
        <p:nvSpPr>
          <p:cNvPr id="203" name="TextBox 202">
            <a:extLst>
              <a:ext uri="{FF2B5EF4-FFF2-40B4-BE49-F238E27FC236}">
                <a16:creationId xmlns:a16="http://schemas.microsoft.com/office/drawing/2014/main" id="{65257233-BDE5-4395-99A3-D85376329AD6}"/>
              </a:ext>
            </a:extLst>
          </p:cNvPr>
          <p:cNvSpPr txBox="1"/>
          <p:nvPr/>
        </p:nvSpPr>
        <p:spPr bwMode="auto">
          <a:xfrm>
            <a:off x="6421434" y="1317927"/>
            <a:ext cx="1666097" cy="3693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ctr" defTabSz="1219170" fontAlgn="base">
              <a:spcBef>
                <a:spcPct val="0"/>
              </a:spcBef>
              <a:spcAft>
                <a:spcPts val="600"/>
              </a:spcAft>
              <a:buClr>
                <a:srgbClr val="55555A"/>
              </a:buClr>
            </a:pPr>
            <a:r>
              <a:rPr lang="en-GB" sz="1200" b="1" kern="0">
                <a:solidFill>
                  <a:srgbClr val="00148C"/>
                </a:solidFill>
                <a:latin typeface="Arial"/>
                <a:ea typeface="ＭＳ Ｐゴシック"/>
              </a:rPr>
              <a:t>Employees &amp; US Contingent Workers</a:t>
            </a:r>
            <a:endParaRPr lang="en-GB" sz="1200" kern="0">
              <a:solidFill>
                <a:srgbClr val="55555A"/>
              </a:solidFill>
              <a:latin typeface="Arial"/>
              <a:ea typeface="ＭＳ Ｐゴシック"/>
            </a:endParaRPr>
          </a:p>
        </p:txBody>
      </p:sp>
      <p:sp>
        <p:nvSpPr>
          <p:cNvPr id="205" name="TextBox 204">
            <a:extLst>
              <a:ext uri="{FF2B5EF4-FFF2-40B4-BE49-F238E27FC236}">
                <a16:creationId xmlns:a16="http://schemas.microsoft.com/office/drawing/2014/main" id="{E882B179-D5AB-4278-8DF8-F4A1B4EBE722}"/>
              </a:ext>
            </a:extLst>
          </p:cNvPr>
          <p:cNvSpPr txBox="1"/>
          <p:nvPr/>
        </p:nvSpPr>
        <p:spPr bwMode="auto">
          <a:xfrm>
            <a:off x="8335083" y="1320408"/>
            <a:ext cx="1412652" cy="3693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GB"/>
            </a:defPPr>
            <a:lvl1pPr algn="ctr">
              <a:spcAft>
                <a:spcPts val="450"/>
              </a:spcAft>
              <a:defRPr sz="900"/>
            </a:lvl1pPr>
          </a:lstStyle>
          <a:p>
            <a:pPr defTabSz="1219170" fontAlgn="base">
              <a:spcBef>
                <a:spcPct val="0"/>
              </a:spcBef>
              <a:spcAft>
                <a:spcPts val="600"/>
              </a:spcAft>
              <a:buClr>
                <a:srgbClr val="55555A"/>
              </a:buClr>
            </a:pPr>
            <a:r>
              <a:rPr lang="en-GB" sz="1200" b="1" kern="0">
                <a:solidFill>
                  <a:srgbClr val="00148C"/>
                </a:solidFill>
                <a:latin typeface="Arial"/>
                <a:ea typeface="ＭＳ Ｐゴシック"/>
              </a:rPr>
              <a:t>UK Contingent Workers </a:t>
            </a:r>
          </a:p>
        </p:txBody>
      </p:sp>
      <p:sp>
        <p:nvSpPr>
          <p:cNvPr id="207" name="TextBox 206">
            <a:extLst>
              <a:ext uri="{FF2B5EF4-FFF2-40B4-BE49-F238E27FC236}">
                <a16:creationId xmlns:a16="http://schemas.microsoft.com/office/drawing/2014/main" id="{24141D5C-D17A-4681-9A6A-8EF321F830FF}"/>
              </a:ext>
            </a:extLst>
          </p:cNvPr>
          <p:cNvSpPr txBox="1"/>
          <p:nvPr/>
        </p:nvSpPr>
        <p:spPr bwMode="auto">
          <a:xfrm>
            <a:off x="10608817" y="1354255"/>
            <a:ext cx="46968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t" anchorCtr="0" compatLnSpc="1">
            <a:prstTxWarp prst="textNoShape">
              <a:avLst/>
            </a:prstTxWarp>
            <a:spAutoFit/>
          </a:bodyPr>
          <a:lstStyle/>
          <a:p>
            <a:pPr defTabSz="1219170" fontAlgn="base">
              <a:spcBef>
                <a:spcPct val="0"/>
              </a:spcBef>
              <a:spcAft>
                <a:spcPts val="600"/>
              </a:spcAft>
              <a:buClr>
                <a:srgbClr val="55555A"/>
              </a:buClr>
            </a:pPr>
            <a:r>
              <a:rPr lang="en-GB" sz="1200" b="1" kern="0">
                <a:solidFill>
                  <a:srgbClr val="00148C"/>
                </a:solidFill>
                <a:latin typeface="Arial"/>
                <a:ea typeface="ＭＳ Ｐゴシック"/>
              </a:rPr>
              <a:t>MSPs`</a:t>
            </a:r>
            <a:endParaRPr lang="en-GB" sz="1200" kern="0">
              <a:solidFill>
                <a:srgbClr val="55555A"/>
              </a:solidFill>
              <a:latin typeface="Arial"/>
              <a:ea typeface="ＭＳ Ｐゴシック"/>
            </a:endParaRPr>
          </a:p>
        </p:txBody>
      </p:sp>
      <p:cxnSp>
        <p:nvCxnSpPr>
          <p:cNvPr id="208" name="Straight Connector 207">
            <a:extLst>
              <a:ext uri="{FF2B5EF4-FFF2-40B4-BE49-F238E27FC236}">
                <a16:creationId xmlns:a16="http://schemas.microsoft.com/office/drawing/2014/main" id="{B3E8A04D-6312-41BB-BEB3-0B3670A368F2}"/>
              </a:ext>
            </a:extLst>
          </p:cNvPr>
          <p:cNvCxnSpPr>
            <a:cxnSpLocks/>
            <a:endCxn id="498" idx="8"/>
          </p:cNvCxnSpPr>
          <p:nvPr/>
        </p:nvCxnSpPr>
        <p:spPr bwMode="auto">
          <a:xfrm>
            <a:off x="7982937" y="2949982"/>
            <a:ext cx="127340" cy="106191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Connector 208">
            <a:extLst>
              <a:ext uri="{FF2B5EF4-FFF2-40B4-BE49-F238E27FC236}">
                <a16:creationId xmlns:a16="http://schemas.microsoft.com/office/drawing/2014/main" id="{6FFEF699-3AD8-44CE-B445-0B3C18392196}"/>
              </a:ext>
            </a:extLst>
          </p:cNvPr>
          <p:cNvCxnSpPr>
            <a:cxnSpLocks/>
            <a:endCxn id="361" idx="1"/>
          </p:cNvCxnSpPr>
          <p:nvPr/>
        </p:nvCxnSpPr>
        <p:spPr bwMode="auto">
          <a:xfrm>
            <a:off x="8122237" y="3087893"/>
            <a:ext cx="497903" cy="66597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0" name="Straight Connector 209">
            <a:extLst>
              <a:ext uri="{FF2B5EF4-FFF2-40B4-BE49-F238E27FC236}">
                <a16:creationId xmlns:a16="http://schemas.microsoft.com/office/drawing/2014/main" id="{57CBC6B8-6400-4244-B552-ECF6C4CE0C17}"/>
              </a:ext>
            </a:extLst>
          </p:cNvPr>
          <p:cNvCxnSpPr>
            <a:cxnSpLocks/>
            <a:endCxn id="500" idx="1"/>
          </p:cNvCxnSpPr>
          <p:nvPr/>
        </p:nvCxnSpPr>
        <p:spPr bwMode="auto">
          <a:xfrm flipH="1">
            <a:off x="9338480" y="2863115"/>
            <a:ext cx="190675" cy="69590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1" name="Straight Connector 210">
            <a:extLst>
              <a:ext uri="{FF2B5EF4-FFF2-40B4-BE49-F238E27FC236}">
                <a16:creationId xmlns:a16="http://schemas.microsoft.com/office/drawing/2014/main" id="{AA8CC22A-7252-4AE5-A489-61969285A27A}"/>
              </a:ext>
            </a:extLst>
          </p:cNvPr>
          <p:cNvCxnSpPr>
            <a:cxnSpLocks/>
            <a:endCxn id="353" idx="8"/>
          </p:cNvCxnSpPr>
          <p:nvPr/>
        </p:nvCxnSpPr>
        <p:spPr bwMode="auto">
          <a:xfrm flipH="1">
            <a:off x="7264850" y="3158924"/>
            <a:ext cx="154092" cy="660515"/>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2" name="Straight Connector 211">
            <a:extLst>
              <a:ext uri="{FF2B5EF4-FFF2-40B4-BE49-F238E27FC236}">
                <a16:creationId xmlns:a16="http://schemas.microsoft.com/office/drawing/2014/main" id="{7A6470F4-13EA-4116-A68D-B03443A75BD6}"/>
              </a:ext>
            </a:extLst>
          </p:cNvPr>
          <p:cNvCxnSpPr>
            <a:cxnSpLocks/>
            <a:endCxn id="491" idx="11"/>
          </p:cNvCxnSpPr>
          <p:nvPr/>
        </p:nvCxnSpPr>
        <p:spPr bwMode="auto">
          <a:xfrm flipH="1">
            <a:off x="6786431" y="3121921"/>
            <a:ext cx="343701" cy="845103"/>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3" name="Straight Connector 212">
            <a:extLst>
              <a:ext uri="{FF2B5EF4-FFF2-40B4-BE49-F238E27FC236}">
                <a16:creationId xmlns:a16="http://schemas.microsoft.com/office/drawing/2014/main" id="{919A1349-C02C-4C34-AA30-72C4F8E97DF6}"/>
              </a:ext>
            </a:extLst>
          </p:cNvPr>
          <p:cNvCxnSpPr>
            <a:cxnSpLocks/>
            <a:endCxn id="403" idx="11"/>
          </p:cNvCxnSpPr>
          <p:nvPr/>
        </p:nvCxnSpPr>
        <p:spPr bwMode="auto">
          <a:xfrm flipH="1">
            <a:off x="7630823" y="3144586"/>
            <a:ext cx="80837" cy="93716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8" name="Straight Connector 227">
            <a:extLst>
              <a:ext uri="{FF2B5EF4-FFF2-40B4-BE49-F238E27FC236}">
                <a16:creationId xmlns:a16="http://schemas.microsoft.com/office/drawing/2014/main" id="{32907C08-2674-4D96-98A0-48BE91171417}"/>
              </a:ext>
            </a:extLst>
          </p:cNvPr>
          <p:cNvCxnSpPr>
            <a:cxnSpLocks/>
            <a:endCxn id="356" idx="1"/>
          </p:cNvCxnSpPr>
          <p:nvPr/>
        </p:nvCxnSpPr>
        <p:spPr bwMode="auto">
          <a:xfrm>
            <a:off x="10915043" y="2897432"/>
            <a:ext cx="82687" cy="670397"/>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9" name="TextBox 228">
            <a:extLst>
              <a:ext uri="{FF2B5EF4-FFF2-40B4-BE49-F238E27FC236}">
                <a16:creationId xmlns:a16="http://schemas.microsoft.com/office/drawing/2014/main" id="{60A5F3AA-B2D5-40AA-B69B-700EAC11F727}"/>
              </a:ext>
            </a:extLst>
          </p:cNvPr>
          <p:cNvSpPr txBox="1"/>
          <p:nvPr/>
        </p:nvSpPr>
        <p:spPr bwMode="auto">
          <a:xfrm>
            <a:off x="6349765" y="528275"/>
            <a:ext cx="1043555"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t" anchorCtr="0" compatLnSpc="1">
            <a:prstTxWarp prst="textNoShape">
              <a:avLst/>
            </a:prstTxWarp>
            <a:spAutoFit/>
          </a:bodyPr>
          <a:lstStyle/>
          <a:p>
            <a:pPr defTabSz="1219170" fontAlgn="base">
              <a:spcBef>
                <a:spcPct val="0"/>
              </a:spcBef>
              <a:spcAft>
                <a:spcPts val="600"/>
              </a:spcAft>
              <a:buClr>
                <a:srgbClr val="55555A"/>
              </a:buClr>
            </a:pPr>
            <a:r>
              <a:rPr lang="en-GB" sz="1400" b="1" kern="0">
                <a:solidFill>
                  <a:srgbClr val="00148C"/>
                </a:solidFill>
                <a:latin typeface="Arial"/>
                <a:ea typeface="ＭＳ Ｐゴシック"/>
              </a:rPr>
              <a:t>Future State</a:t>
            </a:r>
          </a:p>
        </p:txBody>
      </p:sp>
      <p:sp>
        <p:nvSpPr>
          <p:cNvPr id="230" name="Rectangle 229">
            <a:extLst>
              <a:ext uri="{FF2B5EF4-FFF2-40B4-BE49-F238E27FC236}">
                <a16:creationId xmlns:a16="http://schemas.microsoft.com/office/drawing/2014/main" id="{126BA338-8F8D-4999-9353-629E1351D312}"/>
              </a:ext>
            </a:extLst>
          </p:cNvPr>
          <p:cNvSpPr/>
          <p:nvPr/>
        </p:nvSpPr>
        <p:spPr bwMode="auto">
          <a:xfrm>
            <a:off x="6283473" y="772016"/>
            <a:ext cx="5480992" cy="3661371"/>
          </a:xfrm>
          <a:prstGeom prst="rect">
            <a:avLst/>
          </a:prstGeom>
          <a:noFill/>
          <a:ln w="9525" cap="flat" cmpd="sng" algn="ctr">
            <a:solidFill>
              <a:schemeClr val="bg2"/>
            </a:solidFill>
            <a:prstDash val="solid"/>
            <a:round/>
            <a:headEnd type="none" w="med" len="med"/>
            <a:tailEnd type="triangle" w="med" len="med"/>
          </a:ln>
          <a:effectLst/>
        </p:spPr>
        <p:txBody>
          <a:bodyPr vert="horz" wrap="square" lIns="91435" tIns="45719" rIns="91435" bIns="45719" numCol="1" rtlCol="0" anchor="t" anchorCtr="0" compatLnSpc="1">
            <a:prstTxWarp prst="textNoShape">
              <a:avLst/>
            </a:prstTxWarp>
          </a:bodyPr>
          <a:lstStyle/>
          <a:p>
            <a:pPr defTabSz="1219170" fontAlgn="base">
              <a:spcBef>
                <a:spcPct val="0"/>
              </a:spcBef>
              <a:spcAft>
                <a:spcPts val="451"/>
              </a:spcAft>
              <a:buClr>
                <a:srgbClr val="55555A"/>
              </a:buClr>
            </a:pPr>
            <a:endParaRPr lang="en-GB" b="1" kern="0" err="1">
              <a:solidFill>
                <a:srgbClr val="FFFFFF"/>
              </a:solidFill>
              <a:latin typeface="Arial"/>
              <a:ea typeface="ＭＳ Ｐゴシック"/>
              <a:cs typeface="Arial"/>
            </a:endParaRPr>
          </a:p>
        </p:txBody>
      </p:sp>
      <p:sp>
        <p:nvSpPr>
          <p:cNvPr id="232" name="Flowchart: Magnetic Disk 231">
            <a:extLst>
              <a:ext uri="{FF2B5EF4-FFF2-40B4-BE49-F238E27FC236}">
                <a16:creationId xmlns:a16="http://schemas.microsoft.com/office/drawing/2014/main" id="{21052B6C-5D63-40D3-8E6C-3BEB8D984C82}"/>
              </a:ext>
            </a:extLst>
          </p:cNvPr>
          <p:cNvSpPr/>
          <p:nvPr/>
        </p:nvSpPr>
        <p:spPr bwMode="auto">
          <a:xfrm>
            <a:off x="10872287" y="1799875"/>
            <a:ext cx="734603" cy="468251"/>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ACG (UK)</a:t>
            </a:r>
          </a:p>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pic>
        <p:nvPicPr>
          <p:cNvPr id="233" name="Picture 232">
            <a:extLst>
              <a:ext uri="{FF2B5EF4-FFF2-40B4-BE49-F238E27FC236}">
                <a16:creationId xmlns:a16="http://schemas.microsoft.com/office/drawing/2014/main" id="{90942EE4-B0C7-4CEC-926D-BA446785A95D}"/>
              </a:ext>
            </a:extLst>
          </p:cNvPr>
          <p:cNvPicPr>
            <a:picLocks noChangeAspect="1"/>
          </p:cNvPicPr>
          <p:nvPr/>
        </p:nvPicPr>
        <p:blipFill>
          <a:blip r:embed="rId3"/>
          <a:stretch>
            <a:fillRect/>
          </a:stretch>
        </p:blipFill>
        <p:spPr>
          <a:xfrm>
            <a:off x="8408873" y="1911136"/>
            <a:ext cx="380083" cy="351619"/>
          </a:xfrm>
          <a:prstGeom prst="rect">
            <a:avLst/>
          </a:prstGeom>
        </p:spPr>
      </p:pic>
      <p:cxnSp>
        <p:nvCxnSpPr>
          <p:cNvPr id="234" name="Straight Connector 233">
            <a:extLst>
              <a:ext uri="{FF2B5EF4-FFF2-40B4-BE49-F238E27FC236}">
                <a16:creationId xmlns:a16="http://schemas.microsoft.com/office/drawing/2014/main" id="{28AC5AA9-29CC-41FC-9AAC-0F8115628213}"/>
              </a:ext>
            </a:extLst>
          </p:cNvPr>
          <p:cNvCxnSpPr>
            <a:cxnSpLocks/>
            <a:endCxn id="233" idx="1"/>
          </p:cNvCxnSpPr>
          <p:nvPr/>
        </p:nvCxnSpPr>
        <p:spPr bwMode="auto">
          <a:xfrm flipV="1">
            <a:off x="7631689" y="2086945"/>
            <a:ext cx="777185" cy="1296"/>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Flowchart: Magnetic Disk 234">
            <a:extLst>
              <a:ext uri="{FF2B5EF4-FFF2-40B4-BE49-F238E27FC236}">
                <a16:creationId xmlns:a16="http://schemas.microsoft.com/office/drawing/2014/main" id="{6A67D726-F6B2-40D4-8BC2-091330B00A4E}"/>
              </a:ext>
            </a:extLst>
          </p:cNvPr>
          <p:cNvSpPr/>
          <p:nvPr/>
        </p:nvSpPr>
        <p:spPr bwMode="auto">
          <a:xfrm>
            <a:off x="8905001" y="1811925"/>
            <a:ext cx="709607" cy="468251"/>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SAP ECC (UK)</a:t>
            </a:r>
          </a:p>
        </p:txBody>
      </p:sp>
      <p:cxnSp>
        <p:nvCxnSpPr>
          <p:cNvPr id="236" name="Straight Connector 235">
            <a:extLst>
              <a:ext uri="{FF2B5EF4-FFF2-40B4-BE49-F238E27FC236}">
                <a16:creationId xmlns:a16="http://schemas.microsoft.com/office/drawing/2014/main" id="{2E906495-5418-4758-86B3-AEC5810E41AE}"/>
              </a:ext>
            </a:extLst>
          </p:cNvPr>
          <p:cNvCxnSpPr>
            <a:cxnSpLocks/>
            <a:stCxn id="306" idx="1"/>
            <a:endCxn id="250" idx="4"/>
          </p:cNvCxnSpPr>
          <p:nvPr/>
        </p:nvCxnSpPr>
        <p:spPr bwMode="auto">
          <a:xfrm flipH="1">
            <a:off x="8309799" y="2823562"/>
            <a:ext cx="991372" cy="26584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6" name="Rectangle 305">
            <a:extLst>
              <a:ext uri="{FF2B5EF4-FFF2-40B4-BE49-F238E27FC236}">
                <a16:creationId xmlns:a16="http://schemas.microsoft.com/office/drawing/2014/main" id="{FE58E832-B93C-44D1-82C4-0E38D5F3140F}"/>
              </a:ext>
            </a:extLst>
          </p:cNvPr>
          <p:cNvSpPr/>
          <p:nvPr/>
        </p:nvSpPr>
        <p:spPr bwMode="auto">
          <a:xfrm>
            <a:off x="9301171" y="2619421"/>
            <a:ext cx="1740956" cy="408281"/>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12" tIns="60957" rIns="121912" bIns="60957" numCol="1" rtlCol="0" anchor="ctr" anchorCtr="0" compatLnSpc="1">
            <a:prstTxWarp prst="textNoShape">
              <a:avLst/>
            </a:prstTxWarp>
          </a:bodyPr>
          <a:lstStyle/>
          <a:p>
            <a:pPr defTabSz="1219170" fontAlgn="base">
              <a:spcBef>
                <a:spcPct val="0"/>
              </a:spcBef>
              <a:buClr>
                <a:srgbClr val="55555A"/>
              </a:buClr>
            </a:pPr>
            <a:r>
              <a:rPr lang="en-US" sz="1067" b="1" kern="0">
                <a:solidFill>
                  <a:srgbClr val="FFFFFF"/>
                </a:solidFill>
                <a:latin typeface="Arial"/>
                <a:ea typeface="ＭＳ Ｐゴシック"/>
                <a:cs typeface="Arial"/>
              </a:rPr>
              <a:t>Master Data </a:t>
            </a:r>
          </a:p>
          <a:p>
            <a:pPr defTabSz="1219170" fontAlgn="base">
              <a:spcBef>
                <a:spcPct val="0"/>
              </a:spcBef>
              <a:buClr>
                <a:srgbClr val="55555A"/>
              </a:buClr>
            </a:pPr>
            <a:r>
              <a:rPr lang="en-US" sz="1067" b="1" kern="0">
                <a:solidFill>
                  <a:srgbClr val="FFFFFF"/>
                </a:solidFill>
                <a:latin typeface="Arial"/>
                <a:ea typeface="ＭＳ Ｐゴシック"/>
                <a:cs typeface="Arial"/>
              </a:rPr>
              <a:t>Management</a:t>
            </a:r>
          </a:p>
        </p:txBody>
      </p:sp>
      <p:cxnSp>
        <p:nvCxnSpPr>
          <p:cNvPr id="335" name="Straight Connector 334">
            <a:extLst>
              <a:ext uri="{FF2B5EF4-FFF2-40B4-BE49-F238E27FC236}">
                <a16:creationId xmlns:a16="http://schemas.microsoft.com/office/drawing/2014/main" id="{853C7459-4959-480F-879A-FFCC65281706}"/>
              </a:ext>
            </a:extLst>
          </p:cNvPr>
          <p:cNvCxnSpPr>
            <a:cxnSpLocks/>
          </p:cNvCxnSpPr>
          <p:nvPr/>
        </p:nvCxnSpPr>
        <p:spPr bwMode="auto">
          <a:xfrm>
            <a:off x="7630823" y="2262312"/>
            <a:ext cx="1684812" cy="385205"/>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8" name="Straight Connector 337">
            <a:extLst>
              <a:ext uri="{FF2B5EF4-FFF2-40B4-BE49-F238E27FC236}">
                <a16:creationId xmlns:a16="http://schemas.microsoft.com/office/drawing/2014/main" id="{FBC04562-E83C-4A6A-9008-B569ED4B49CB}"/>
              </a:ext>
            </a:extLst>
          </p:cNvPr>
          <p:cNvCxnSpPr>
            <a:cxnSpLocks/>
            <a:stCxn id="235" idx="3"/>
            <a:endCxn id="306" idx="0"/>
          </p:cNvCxnSpPr>
          <p:nvPr/>
        </p:nvCxnSpPr>
        <p:spPr bwMode="auto">
          <a:xfrm>
            <a:off x="9259804" y="2280177"/>
            <a:ext cx="911845" cy="339244"/>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9" name="Straight Connector 338">
            <a:extLst>
              <a:ext uri="{FF2B5EF4-FFF2-40B4-BE49-F238E27FC236}">
                <a16:creationId xmlns:a16="http://schemas.microsoft.com/office/drawing/2014/main" id="{C7B85792-3E5C-444F-A308-2BE8D6DD6EAB}"/>
              </a:ext>
            </a:extLst>
          </p:cNvPr>
          <p:cNvCxnSpPr>
            <a:cxnSpLocks/>
            <a:stCxn id="232" idx="3"/>
            <a:endCxn id="475" idx="1"/>
          </p:cNvCxnSpPr>
          <p:nvPr/>
        </p:nvCxnSpPr>
        <p:spPr bwMode="auto">
          <a:xfrm flipH="1">
            <a:off x="10607462" y="2268126"/>
            <a:ext cx="632127" cy="366817"/>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4" name="Straight Connector 343">
            <a:extLst>
              <a:ext uri="{FF2B5EF4-FFF2-40B4-BE49-F238E27FC236}">
                <a16:creationId xmlns:a16="http://schemas.microsoft.com/office/drawing/2014/main" id="{8202AC17-F942-406B-B2F3-BDB585751173}"/>
              </a:ext>
            </a:extLst>
          </p:cNvPr>
          <p:cNvCxnSpPr>
            <a:cxnSpLocks/>
          </p:cNvCxnSpPr>
          <p:nvPr/>
        </p:nvCxnSpPr>
        <p:spPr bwMode="auto">
          <a:xfrm flipH="1">
            <a:off x="10336843" y="2287389"/>
            <a:ext cx="86516" cy="340879"/>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7" name="Straight Connector 346">
            <a:extLst>
              <a:ext uri="{FF2B5EF4-FFF2-40B4-BE49-F238E27FC236}">
                <a16:creationId xmlns:a16="http://schemas.microsoft.com/office/drawing/2014/main" id="{AA7247A3-688A-48B8-9F2A-6A1F09623C09}"/>
              </a:ext>
            </a:extLst>
          </p:cNvPr>
          <p:cNvCxnSpPr>
            <a:cxnSpLocks/>
            <a:stCxn id="233" idx="2"/>
          </p:cNvCxnSpPr>
          <p:nvPr/>
        </p:nvCxnSpPr>
        <p:spPr bwMode="auto">
          <a:xfrm>
            <a:off x="8598915" y="2262755"/>
            <a:ext cx="880853" cy="350016"/>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5" name="Graphic 201" descr="Group">
            <a:extLst>
              <a:ext uri="{FF2B5EF4-FFF2-40B4-BE49-F238E27FC236}">
                <a16:creationId xmlns:a16="http://schemas.microsoft.com/office/drawing/2014/main" id="{41CA048E-B419-4FB0-AD56-B66073B1606E}"/>
              </a:ext>
            </a:extLst>
          </p:cNvPr>
          <p:cNvGrpSpPr/>
          <p:nvPr/>
        </p:nvGrpSpPr>
        <p:grpSpPr>
          <a:xfrm>
            <a:off x="6786708" y="860115"/>
            <a:ext cx="802689" cy="446196"/>
            <a:chOff x="4920366" y="573715"/>
            <a:chExt cx="602017" cy="334647"/>
          </a:xfrm>
        </p:grpSpPr>
        <p:sp>
          <p:nvSpPr>
            <p:cNvPr id="386" name="Freeform: Shape 385">
              <a:extLst>
                <a:ext uri="{FF2B5EF4-FFF2-40B4-BE49-F238E27FC236}">
                  <a16:creationId xmlns:a16="http://schemas.microsoft.com/office/drawing/2014/main" id="{F2B6D149-F50C-4DE1-9BC0-957FD8D0C939}"/>
                </a:ext>
              </a:extLst>
            </p:cNvPr>
            <p:cNvSpPr/>
            <p:nvPr/>
          </p:nvSpPr>
          <p:spPr>
            <a:xfrm>
              <a:off x="5406109"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87" name="Freeform: Shape 386">
              <a:extLst>
                <a:ext uri="{FF2B5EF4-FFF2-40B4-BE49-F238E27FC236}">
                  <a16:creationId xmlns:a16="http://schemas.microsoft.com/office/drawing/2014/main" id="{052F8072-609B-4521-AC54-1EA2DF91B9F0}"/>
                </a:ext>
              </a:extLst>
            </p:cNvPr>
            <p:cNvSpPr/>
            <p:nvPr/>
          </p:nvSpPr>
          <p:spPr>
            <a:xfrm>
              <a:off x="4970916"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88" name="Freeform: Shape 387">
              <a:extLst>
                <a:ext uri="{FF2B5EF4-FFF2-40B4-BE49-F238E27FC236}">
                  <a16:creationId xmlns:a16="http://schemas.microsoft.com/office/drawing/2014/main" id="{062AED95-1FF4-4B6F-A6E2-3E7105397FB8}"/>
                </a:ext>
              </a:extLst>
            </p:cNvPr>
            <p:cNvSpPr/>
            <p:nvPr/>
          </p:nvSpPr>
          <p:spPr>
            <a:xfrm>
              <a:off x="5261045"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89" name="Freeform: Shape 388">
              <a:extLst>
                <a:ext uri="{FF2B5EF4-FFF2-40B4-BE49-F238E27FC236}">
                  <a16:creationId xmlns:a16="http://schemas.microsoft.com/office/drawing/2014/main" id="{0C55612A-D5EE-4881-94F4-DDFFD2716E6F}"/>
                </a:ext>
              </a:extLst>
            </p:cNvPr>
            <p:cNvSpPr/>
            <p:nvPr/>
          </p:nvSpPr>
          <p:spPr>
            <a:xfrm>
              <a:off x="5115980"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90" name="Freeform: Shape 389">
              <a:extLst>
                <a:ext uri="{FF2B5EF4-FFF2-40B4-BE49-F238E27FC236}">
                  <a16:creationId xmlns:a16="http://schemas.microsoft.com/office/drawing/2014/main" id="{B06694E7-7704-468D-A1FD-E4EB377731A3}"/>
                </a:ext>
              </a:extLst>
            </p:cNvPr>
            <p:cNvSpPr/>
            <p:nvPr/>
          </p:nvSpPr>
          <p:spPr>
            <a:xfrm>
              <a:off x="4920366" y="639449"/>
              <a:ext cx="602017" cy="268913"/>
            </a:xfrm>
            <a:custGeom>
              <a:avLst/>
              <a:gdLst>
                <a:gd name="connsiteX0" fmla="*/ 608322 w 602017"/>
                <a:gd name="connsiteY0" fmla="*/ 110553 h 268912"/>
                <a:gd name="connsiteX1" fmla="*/ 585112 w 602017"/>
                <a:gd name="connsiteY1" fmla="*/ 23306 h 268912"/>
                <a:gd name="connsiteX2" fmla="*/ 580035 w 602017"/>
                <a:gd name="connsiteY2" fmla="*/ 16732 h 268912"/>
                <a:gd name="connsiteX3" fmla="*/ 551022 w 602017"/>
                <a:gd name="connsiteY3" fmla="*/ 4183 h 268912"/>
                <a:gd name="connsiteX4" fmla="*/ 522009 w 602017"/>
                <a:gd name="connsiteY4" fmla="*/ 0 h 268912"/>
                <a:gd name="connsiteX5" fmla="*/ 492996 w 602017"/>
                <a:gd name="connsiteY5" fmla="*/ 4183 h 268912"/>
                <a:gd name="connsiteX6" fmla="*/ 463983 w 602017"/>
                <a:gd name="connsiteY6" fmla="*/ 16732 h 268912"/>
                <a:gd name="connsiteX7" fmla="*/ 458906 w 602017"/>
                <a:gd name="connsiteY7" fmla="*/ 23306 h 268912"/>
                <a:gd name="connsiteX8" fmla="*/ 449477 w 602017"/>
                <a:gd name="connsiteY8" fmla="*/ 58563 h 268912"/>
                <a:gd name="connsiteX9" fmla="*/ 449477 w 602017"/>
                <a:gd name="connsiteY9" fmla="*/ 58563 h 268912"/>
                <a:gd name="connsiteX10" fmla="*/ 440048 w 602017"/>
                <a:gd name="connsiteY10" fmla="*/ 23306 h 268912"/>
                <a:gd name="connsiteX11" fmla="*/ 434970 w 602017"/>
                <a:gd name="connsiteY11" fmla="*/ 16732 h 268912"/>
                <a:gd name="connsiteX12" fmla="*/ 405958 w 602017"/>
                <a:gd name="connsiteY12" fmla="*/ 4183 h 268912"/>
                <a:gd name="connsiteX13" fmla="*/ 376945 w 602017"/>
                <a:gd name="connsiteY13" fmla="*/ 0 h 268912"/>
                <a:gd name="connsiteX14" fmla="*/ 347932 w 602017"/>
                <a:gd name="connsiteY14" fmla="*/ 4183 h 268912"/>
                <a:gd name="connsiteX15" fmla="*/ 318919 w 602017"/>
                <a:gd name="connsiteY15" fmla="*/ 16732 h 268912"/>
                <a:gd name="connsiteX16" fmla="*/ 313842 w 602017"/>
                <a:gd name="connsiteY16" fmla="*/ 23306 h 268912"/>
                <a:gd name="connsiteX17" fmla="*/ 304412 w 602017"/>
                <a:gd name="connsiteY17" fmla="*/ 57966 h 268912"/>
                <a:gd name="connsiteX18" fmla="*/ 304412 w 602017"/>
                <a:gd name="connsiteY18" fmla="*/ 58563 h 268912"/>
                <a:gd name="connsiteX19" fmla="*/ 294983 w 602017"/>
                <a:gd name="connsiteY19" fmla="*/ 23306 h 268912"/>
                <a:gd name="connsiteX20" fmla="*/ 289906 w 602017"/>
                <a:gd name="connsiteY20" fmla="*/ 16732 h 268912"/>
                <a:gd name="connsiteX21" fmla="*/ 260893 w 602017"/>
                <a:gd name="connsiteY21" fmla="*/ 4183 h 268912"/>
                <a:gd name="connsiteX22" fmla="*/ 231880 w 602017"/>
                <a:gd name="connsiteY22" fmla="*/ 0 h 268912"/>
                <a:gd name="connsiteX23" fmla="*/ 202867 w 602017"/>
                <a:gd name="connsiteY23" fmla="*/ 4183 h 268912"/>
                <a:gd name="connsiteX24" fmla="*/ 173855 w 602017"/>
                <a:gd name="connsiteY24" fmla="*/ 16732 h 268912"/>
                <a:gd name="connsiteX25" fmla="*/ 168777 w 602017"/>
                <a:gd name="connsiteY25" fmla="*/ 23306 h 268912"/>
                <a:gd name="connsiteX26" fmla="*/ 159348 w 602017"/>
                <a:gd name="connsiteY26" fmla="*/ 57966 h 268912"/>
                <a:gd name="connsiteX27" fmla="*/ 159348 w 602017"/>
                <a:gd name="connsiteY27" fmla="*/ 57966 h 268912"/>
                <a:gd name="connsiteX28" fmla="*/ 149919 w 602017"/>
                <a:gd name="connsiteY28" fmla="*/ 23306 h 268912"/>
                <a:gd name="connsiteX29" fmla="*/ 144842 w 602017"/>
                <a:gd name="connsiteY29" fmla="*/ 16732 h 268912"/>
                <a:gd name="connsiteX30" fmla="*/ 115829 w 602017"/>
                <a:gd name="connsiteY30" fmla="*/ 4183 h 268912"/>
                <a:gd name="connsiteX31" fmla="*/ 86816 w 602017"/>
                <a:gd name="connsiteY31" fmla="*/ 0 h 268912"/>
                <a:gd name="connsiteX32" fmla="*/ 57803 w 602017"/>
                <a:gd name="connsiteY32" fmla="*/ 4183 h 268912"/>
                <a:gd name="connsiteX33" fmla="*/ 28790 w 602017"/>
                <a:gd name="connsiteY33" fmla="*/ 16732 h 268912"/>
                <a:gd name="connsiteX34" fmla="*/ 23713 w 602017"/>
                <a:gd name="connsiteY34" fmla="*/ 23306 h 268912"/>
                <a:gd name="connsiteX35" fmla="*/ 503 w 602017"/>
                <a:gd name="connsiteY35" fmla="*/ 109955 h 268912"/>
                <a:gd name="connsiteX36" fmla="*/ 12108 w 602017"/>
                <a:gd name="connsiteY36" fmla="*/ 124895 h 268912"/>
                <a:gd name="connsiteX37" fmla="*/ 14284 w 602017"/>
                <a:gd name="connsiteY37" fmla="*/ 124895 h 268912"/>
                <a:gd name="connsiteX38" fmla="*/ 28790 w 602017"/>
                <a:gd name="connsiteY38" fmla="*/ 115334 h 268912"/>
                <a:gd name="connsiteX39" fmla="*/ 50550 w 602017"/>
                <a:gd name="connsiteY39" fmla="*/ 35855 h 268912"/>
                <a:gd name="connsiteX40" fmla="*/ 50550 w 602017"/>
                <a:gd name="connsiteY40" fmla="*/ 78283 h 268912"/>
                <a:gd name="connsiteX41" fmla="*/ 28790 w 602017"/>
                <a:gd name="connsiteY41" fmla="*/ 167323 h 268912"/>
                <a:gd name="connsiteX42" fmla="*/ 50550 w 602017"/>
                <a:gd name="connsiteY42" fmla="*/ 167323 h 268912"/>
                <a:gd name="connsiteX43" fmla="*/ 50550 w 602017"/>
                <a:gd name="connsiteY43" fmla="*/ 268913 h 268912"/>
                <a:gd name="connsiteX44" fmla="*/ 79563 w 602017"/>
                <a:gd name="connsiteY44" fmla="*/ 268913 h 268912"/>
                <a:gd name="connsiteX45" fmla="*/ 79563 w 602017"/>
                <a:gd name="connsiteY45" fmla="*/ 167323 h 268912"/>
                <a:gd name="connsiteX46" fmla="*/ 94069 w 602017"/>
                <a:gd name="connsiteY46" fmla="*/ 167323 h 268912"/>
                <a:gd name="connsiteX47" fmla="*/ 94069 w 602017"/>
                <a:gd name="connsiteY47" fmla="*/ 268913 h 268912"/>
                <a:gd name="connsiteX48" fmla="*/ 123082 w 602017"/>
                <a:gd name="connsiteY48" fmla="*/ 268913 h 268912"/>
                <a:gd name="connsiteX49" fmla="*/ 123082 w 602017"/>
                <a:gd name="connsiteY49" fmla="*/ 167323 h 268912"/>
                <a:gd name="connsiteX50" fmla="*/ 144842 w 602017"/>
                <a:gd name="connsiteY50" fmla="*/ 167323 h 268912"/>
                <a:gd name="connsiteX51" fmla="*/ 123082 w 602017"/>
                <a:gd name="connsiteY51" fmla="*/ 78283 h 268912"/>
                <a:gd name="connsiteX52" fmla="*/ 123082 w 602017"/>
                <a:gd name="connsiteY52" fmla="*/ 35855 h 268912"/>
                <a:gd name="connsiteX53" fmla="*/ 144842 w 602017"/>
                <a:gd name="connsiteY53" fmla="*/ 115931 h 268912"/>
                <a:gd name="connsiteX54" fmla="*/ 158623 w 602017"/>
                <a:gd name="connsiteY54" fmla="*/ 125493 h 268912"/>
                <a:gd name="connsiteX55" fmla="*/ 158623 w 602017"/>
                <a:gd name="connsiteY55" fmla="*/ 125493 h 268912"/>
                <a:gd name="connsiteX56" fmla="*/ 172404 w 602017"/>
                <a:gd name="connsiteY56" fmla="*/ 115931 h 268912"/>
                <a:gd name="connsiteX57" fmla="*/ 195614 w 602017"/>
                <a:gd name="connsiteY57" fmla="*/ 35855 h 268912"/>
                <a:gd name="connsiteX58" fmla="*/ 195614 w 602017"/>
                <a:gd name="connsiteY58" fmla="*/ 131468 h 268912"/>
                <a:gd name="connsiteX59" fmla="*/ 195614 w 602017"/>
                <a:gd name="connsiteY59" fmla="*/ 268913 h 268912"/>
                <a:gd name="connsiteX60" fmla="*/ 224627 w 602017"/>
                <a:gd name="connsiteY60" fmla="*/ 268913 h 268912"/>
                <a:gd name="connsiteX61" fmla="*/ 224627 w 602017"/>
                <a:gd name="connsiteY61" fmla="*/ 131468 h 268912"/>
                <a:gd name="connsiteX62" fmla="*/ 239133 w 602017"/>
                <a:gd name="connsiteY62" fmla="*/ 131468 h 268912"/>
                <a:gd name="connsiteX63" fmla="*/ 239133 w 602017"/>
                <a:gd name="connsiteY63" fmla="*/ 268913 h 268912"/>
                <a:gd name="connsiteX64" fmla="*/ 268146 w 602017"/>
                <a:gd name="connsiteY64" fmla="*/ 268913 h 268912"/>
                <a:gd name="connsiteX65" fmla="*/ 268146 w 602017"/>
                <a:gd name="connsiteY65" fmla="*/ 131468 h 268912"/>
                <a:gd name="connsiteX66" fmla="*/ 268146 w 602017"/>
                <a:gd name="connsiteY66" fmla="*/ 35855 h 268912"/>
                <a:gd name="connsiteX67" fmla="*/ 289906 w 602017"/>
                <a:gd name="connsiteY67" fmla="*/ 115931 h 268912"/>
                <a:gd name="connsiteX68" fmla="*/ 304412 w 602017"/>
                <a:gd name="connsiteY68" fmla="*/ 125493 h 268912"/>
                <a:gd name="connsiteX69" fmla="*/ 304412 w 602017"/>
                <a:gd name="connsiteY69" fmla="*/ 125493 h 268912"/>
                <a:gd name="connsiteX70" fmla="*/ 304412 w 602017"/>
                <a:gd name="connsiteY70" fmla="*/ 125493 h 268912"/>
                <a:gd name="connsiteX71" fmla="*/ 318194 w 602017"/>
                <a:gd name="connsiteY71" fmla="*/ 115931 h 268912"/>
                <a:gd name="connsiteX72" fmla="*/ 340679 w 602017"/>
                <a:gd name="connsiteY72" fmla="*/ 35855 h 268912"/>
                <a:gd name="connsiteX73" fmla="*/ 340679 w 602017"/>
                <a:gd name="connsiteY73" fmla="*/ 78881 h 268912"/>
                <a:gd name="connsiteX74" fmla="*/ 318919 w 602017"/>
                <a:gd name="connsiteY74" fmla="*/ 167323 h 268912"/>
                <a:gd name="connsiteX75" fmla="*/ 340679 w 602017"/>
                <a:gd name="connsiteY75" fmla="*/ 167323 h 268912"/>
                <a:gd name="connsiteX76" fmla="*/ 340679 w 602017"/>
                <a:gd name="connsiteY76" fmla="*/ 268913 h 268912"/>
                <a:gd name="connsiteX77" fmla="*/ 369691 w 602017"/>
                <a:gd name="connsiteY77" fmla="*/ 268913 h 268912"/>
                <a:gd name="connsiteX78" fmla="*/ 369691 w 602017"/>
                <a:gd name="connsiteY78" fmla="*/ 167323 h 268912"/>
                <a:gd name="connsiteX79" fmla="*/ 384198 w 602017"/>
                <a:gd name="connsiteY79" fmla="*/ 167323 h 268912"/>
                <a:gd name="connsiteX80" fmla="*/ 384198 w 602017"/>
                <a:gd name="connsiteY80" fmla="*/ 268913 h 268912"/>
                <a:gd name="connsiteX81" fmla="*/ 413211 w 602017"/>
                <a:gd name="connsiteY81" fmla="*/ 268913 h 268912"/>
                <a:gd name="connsiteX82" fmla="*/ 413211 w 602017"/>
                <a:gd name="connsiteY82" fmla="*/ 167323 h 268912"/>
                <a:gd name="connsiteX83" fmla="*/ 434970 w 602017"/>
                <a:gd name="connsiteY83" fmla="*/ 167323 h 268912"/>
                <a:gd name="connsiteX84" fmla="*/ 413211 w 602017"/>
                <a:gd name="connsiteY84" fmla="*/ 77686 h 268912"/>
                <a:gd name="connsiteX85" fmla="*/ 413211 w 602017"/>
                <a:gd name="connsiteY85" fmla="*/ 35855 h 268912"/>
                <a:gd name="connsiteX86" fmla="*/ 434970 w 602017"/>
                <a:gd name="connsiteY86" fmla="*/ 115931 h 268912"/>
                <a:gd name="connsiteX87" fmla="*/ 449477 w 602017"/>
                <a:gd name="connsiteY87" fmla="*/ 125493 h 268912"/>
                <a:gd name="connsiteX88" fmla="*/ 449477 w 602017"/>
                <a:gd name="connsiteY88" fmla="*/ 125493 h 268912"/>
                <a:gd name="connsiteX89" fmla="*/ 449477 w 602017"/>
                <a:gd name="connsiteY89" fmla="*/ 125493 h 268912"/>
                <a:gd name="connsiteX90" fmla="*/ 449477 w 602017"/>
                <a:gd name="connsiteY90" fmla="*/ 125493 h 268912"/>
                <a:gd name="connsiteX91" fmla="*/ 463983 w 602017"/>
                <a:gd name="connsiteY91" fmla="*/ 115931 h 268912"/>
                <a:gd name="connsiteX92" fmla="*/ 485743 w 602017"/>
                <a:gd name="connsiteY92" fmla="*/ 35855 h 268912"/>
                <a:gd name="connsiteX93" fmla="*/ 485743 w 602017"/>
                <a:gd name="connsiteY93" fmla="*/ 131468 h 268912"/>
                <a:gd name="connsiteX94" fmla="*/ 485743 w 602017"/>
                <a:gd name="connsiteY94" fmla="*/ 268913 h 268912"/>
                <a:gd name="connsiteX95" fmla="*/ 514756 w 602017"/>
                <a:gd name="connsiteY95" fmla="*/ 268913 h 268912"/>
                <a:gd name="connsiteX96" fmla="*/ 514756 w 602017"/>
                <a:gd name="connsiteY96" fmla="*/ 131468 h 268912"/>
                <a:gd name="connsiteX97" fmla="*/ 529262 w 602017"/>
                <a:gd name="connsiteY97" fmla="*/ 131468 h 268912"/>
                <a:gd name="connsiteX98" fmla="*/ 529262 w 602017"/>
                <a:gd name="connsiteY98" fmla="*/ 268913 h 268912"/>
                <a:gd name="connsiteX99" fmla="*/ 558275 w 602017"/>
                <a:gd name="connsiteY99" fmla="*/ 268913 h 268912"/>
                <a:gd name="connsiteX100" fmla="*/ 558275 w 602017"/>
                <a:gd name="connsiteY100" fmla="*/ 131468 h 268912"/>
                <a:gd name="connsiteX101" fmla="*/ 558275 w 602017"/>
                <a:gd name="connsiteY101" fmla="*/ 35855 h 268912"/>
                <a:gd name="connsiteX102" fmla="*/ 580035 w 602017"/>
                <a:gd name="connsiteY102" fmla="*/ 115931 h 268912"/>
                <a:gd name="connsiteX103" fmla="*/ 594541 w 602017"/>
                <a:gd name="connsiteY103" fmla="*/ 125493 h 268912"/>
                <a:gd name="connsiteX104" fmla="*/ 599618 w 602017"/>
                <a:gd name="connsiteY104" fmla="*/ 124895 h 268912"/>
                <a:gd name="connsiteX105" fmla="*/ 608322 w 602017"/>
                <a:gd name="connsiteY105" fmla="*/ 110553 h 26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02017" h="268912">
                  <a:moveTo>
                    <a:pt x="608322" y="110553"/>
                  </a:moveTo>
                  <a:lnTo>
                    <a:pt x="585112" y="23306"/>
                  </a:lnTo>
                  <a:cubicBezTo>
                    <a:pt x="584387" y="20915"/>
                    <a:pt x="582936" y="18525"/>
                    <a:pt x="580035" y="16732"/>
                  </a:cubicBezTo>
                  <a:cubicBezTo>
                    <a:pt x="571331" y="11354"/>
                    <a:pt x="561902" y="6573"/>
                    <a:pt x="551022" y="4183"/>
                  </a:cubicBezTo>
                  <a:cubicBezTo>
                    <a:pt x="541593" y="1793"/>
                    <a:pt x="532164" y="0"/>
                    <a:pt x="522009" y="0"/>
                  </a:cubicBezTo>
                  <a:cubicBezTo>
                    <a:pt x="511855" y="0"/>
                    <a:pt x="501700" y="1195"/>
                    <a:pt x="492996" y="4183"/>
                  </a:cubicBezTo>
                  <a:cubicBezTo>
                    <a:pt x="482116" y="7171"/>
                    <a:pt x="472687" y="11354"/>
                    <a:pt x="463983" y="16732"/>
                  </a:cubicBezTo>
                  <a:cubicBezTo>
                    <a:pt x="461082" y="18525"/>
                    <a:pt x="459631" y="20915"/>
                    <a:pt x="458906" y="23306"/>
                  </a:cubicBezTo>
                  <a:lnTo>
                    <a:pt x="449477" y="58563"/>
                  </a:lnTo>
                  <a:lnTo>
                    <a:pt x="449477" y="58563"/>
                  </a:lnTo>
                  <a:lnTo>
                    <a:pt x="440048" y="23306"/>
                  </a:lnTo>
                  <a:cubicBezTo>
                    <a:pt x="439322" y="20915"/>
                    <a:pt x="437872" y="18525"/>
                    <a:pt x="434970" y="16732"/>
                  </a:cubicBezTo>
                  <a:cubicBezTo>
                    <a:pt x="426267" y="11354"/>
                    <a:pt x="416837" y="6573"/>
                    <a:pt x="405958" y="4183"/>
                  </a:cubicBezTo>
                  <a:cubicBezTo>
                    <a:pt x="396528" y="1793"/>
                    <a:pt x="387099" y="0"/>
                    <a:pt x="376945" y="0"/>
                  </a:cubicBezTo>
                  <a:cubicBezTo>
                    <a:pt x="366790" y="0"/>
                    <a:pt x="356636" y="1195"/>
                    <a:pt x="347932" y="4183"/>
                  </a:cubicBezTo>
                  <a:cubicBezTo>
                    <a:pt x="337052" y="7171"/>
                    <a:pt x="327623" y="11354"/>
                    <a:pt x="318919" y="16732"/>
                  </a:cubicBezTo>
                  <a:cubicBezTo>
                    <a:pt x="316018" y="18525"/>
                    <a:pt x="314567" y="20915"/>
                    <a:pt x="313842" y="23306"/>
                  </a:cubicBezTo>
                  <a:lnTo>
                    <a:pt x="304412" y="57966"/>
                  </a:lnTo>
                  <a:lnTo>
                    <a:pt x="304412" y="58563"/>
                  </a:lnTo>
                  <a:lnTo>
                    <a:pt x="294983" y="23306"/>
                  </a:lnTo>
                  <a:cubicBezTo>
                    <a:pt x="294258" y="20915"/>
                    <a:pt x="292807" y="18525"/>
                    <a:pt x="289906" y="16732"/>
                  </a:cubicBezTo>
                  <a:cubicBezTo>
                    <a:pt x="281202" y="11354"/>
                    <a:pt x="271773" y="6573"/>
                    <a:pt x="260893" y="4183"/>
                  </a:cubicBezTo>
                  <a:cubicBezTo>
                    <a:pt x="251464" y="1793"/>
                    <a:pt x="242035" y="0"/>
                    <a:pt x="231880" y="0"/>
                  </a:cubicBezTo>
                  <a:cubicBezTo>
                    <a:pt x="221726" y="0"/>
                    <a:pt x="211571" y="1195"/>
                    <a:pt x="202867" y="4183"/>
                  </a:cubicBezTo>
                  <a:cubicBezTo>
                    <a:pt x="191988" y="7171"/>
                    <a:pt x="182558" y="11354"/>
                    <a:pt x="173855" y="16732"/>
                  </a:cubicBezTo>
                  <a:cubicBezTo>
                    <a:pt x="170953" y="18525"/>
                    <a:pt x="169503" y="20915"/>
                    <a:pt x="168777" y="23306"/>
                  </a:cubicBezTo>
                  <a:lnTo>
                    <a:pt x="159348" y="57966"/>
                  </a:lnTo>
                  <a:lnTo>
                    <a:pt x="159348" y="57966"/>
                  </a:lnTo>
                  <a:lnTo>
                    <a:pt x="149919" y="23306"/>
                  </a:lnTo>
                  <a:cubicBezTo>
                    <a:pt x="149194" y="20915"/>
                    <a:pt x="147743" y="18525"/>
                    <a:pt x="144842" y="16732"/>
                  </a:cubicBezTo>
                  <a:cubicBezTo>
                    <a:pt x="136138" y="11354"/>
                    <a:pt x="126709" y="6573"/>
                    <a:pt x="115829" y="4183"/>
                  </a:cubicBezTo>
                  <a:cubicBezTo>
                    <a:pt x="106400" y="1793"/>
                    <a:pt x="96970" y="0"/>
                    <a:pt x="86816" y="0"/>
                  </a:cubicBezTo>
                  <a:cubicBezTo>
                    <a:pt x="76661" y="0"/>
                    <a:pt x="66507" y="1195"/>
                    <a:pt x="57803" y="4183"/>
                  </a:cubicBezTo>
                  <a:cubicBezTo>
                    <a:pt x="46923" y="7171"/>
                    <a:pt x="37494" y="11354"/>
                    <a:pt x="28790" y="16732"/>
                  </a:cubicBezTo>
                  <a:cubicBezTo>
                    <a:pt x="25889" y="18525"/>
                    <a:pt x="24438" y="20915"/>
                    <a:pt x="23713" y="23306"/>
                  </a:cubicBezTo>
                  <a:lnTo>
                    <a:pt x="503" y="109955"/>
                  </a:lnTo>
                  <a:cubicBezTo>
                    <a:pt x="-1673" y="116529"/>
                    <a:pt x="3404" y="123700"/>
                    <a:pt x="12108" y="124895"/>
                  </a:cubicBezTo>
                  <a:cubicBezTo>
                    <a:pt x="12833" y="124895"/>
                    <a:pt x="13558" y="124895"/>
                    <a:pt x="14284" y="124895"/>
                  </a:cubicBezTo>
                  <a:cubicBezTo>
                    <a:pt x="20812" y="124895"/>
                    <a:pt x="26614" y="121309"/>
                    <a:pt x="28790" y="115334"/>
                  </a:cubicBezTo>
                  <a:lnTo>
                    <a:pt x="50550" y="35855"/>
                  </a:lnTo>
                  <a:lnTo>
                    <a:pt x="50550" y="78283"/>
                  </a:lnTo>
                  <a:lnTo>
                    <a:pt x="28790" y="167323"/>
                  </a:lnTo>
                  <a:lnTo>
                    <a:pt x="50550" y="167323"/>
                  </a:lnTo>
                  <a:lnTo>
                    <a:pt x="50550" y="268913"/>
                  </a:lnTo>
                  <a:lnTo>
                    <a:pt x="79563" y="268913"/>
                  </a:lnTo>
                  <a:lnTo>
                    <a:pt x="79563" y="167323"/>
                  </a:lnTo>
                  <a:lnTo>
                    <a:pt x="94069" y="167323"/>
                  </a:lnTo>
                  <a:lnTo>
                    <a:pt x="94069" y="268913"/>
                  </a:lnTo>
                  <a:lnTo>
                    <a:pt x="123082" y="268913"/>
                  </a:lnTo>
                  <a:lnTo>
                    <a:pt x="123082" y="167323"/>
                  </a:lnTo>
                  <a:lnTo>
                    <a:pt x="144842" y="167323"/>
                  </a:lnTo>
                  <a:lnTo>
                    <a:pt x="123082" y="78283"/>
                  </a:lnTo>
                  <a:lnTo>
                    <a:pt x="123082" y="35855"/>
                  </a:lnTo>
                  <a:lnTo>
                    <a:pt x="144842" y="115931"/>
                  </a:lnTo>
                  <a:cubicBezTo>
                    <a:pt x="146292" y="121309"/>
                    <a:pt x="152095" y="125493"/>
                    <a:pt x="158623" y="125493"/>
                  </a:cubicBezTo>
                  <a:lnTo>
                    <a:pt x="158623" y="125493"/>
                  </a:lnTo>
                  <a:cubicBezTo>
                    <a:pt x="165151" y="125493"/>
                    <a:pt x="170953" y="121907"/>
                    <a:pt x="172404" y="115931"/>
                  </a:cubicBezTo>
                  <a:lnTo>
                    <a:pt x="195614" y="35855"/>
                  </a:lnTo>
                  <a:lnTo>
                    <a:pt x="195614" y="131468"/>
                  </a:lnTo>
                  <a:lnTo>
                    <a:pt x="195614" y="268913"/>
                  </a:lnTo>
                  <a:lnTo>
                    <a:pt x="224627" y="268913"/>
                  </a:lnTo>
                  <a:lnTo>
                    <a:pt x="224627" y="131468"/>
                  </a:lnTo>
                  <a:lnTo>
                    <a:pt x="239133" y="131468"/>
                  </a:lnTo>
                  <a:lnTo>
                    <a:pt x="239133" y="268913"/>
                  </a:lnTo>
                  <a:lnTo>
                    <a:pt x="268146" y="268913"/>
                  </a:lnTo>
                  <a:lnTo>
                    <a:pt x="268146" y="131468"/>
                  </a:lnTo>
                  <a:lnTo>
                    <a:pt x="268146" y="35855"/>
                  </a:lnTo>
                  <a:lnTo>
                    <a:pt x="289906" y="115931"/>
                  </a:lnTo>
                  <a:cubicBezTo>
                    <a:pt x="291357" y="121309"/>
                    <a:pt x="297159" y="125493"/>
                    <a:pt x="304412" y="125493"/>
                  </a:cubicBezTo>
                  <a:cubicBezTo>
                    <a:pt x="304412" y="125493"/>
                    <a:pt x="304412" y="125493"/>
                    <a:pt x="304412" y="125493"/>
                  </a:cubicBezTo>
                  <a:lnTo>
                    <a:pt x="304412" y="125493"/>
                  </a:lnTo>
                  <a:cubicBezTo>
                    <a:pt x="310940" y="125493"/>
                    <a:pt x="316743" y="121907"/>
                    <a:pt x="318194" y="115931"/>
                  </a:cubicBezTo>
                  <a:lnTo>
                    <a:pt x="340679" y="35855"/>
                  </a:lnTo>
                  <a:lnTo>
                    <a:pt x="340679" y="78881"/>
                  </a:lnTo>
                  <a:lnTo>
                    <a:pt x="318919" y="167323"/>
                  </a:lnTo>
                  <a:lnTo>
                    <a:pt x="340679" y="167323"/>
                  </a:lnTo>
                  <a:lnTo>
                    <a:pt x="340679" y="268913"/>
                  </a:lnTo>
                  <a:lnTo>
                    <a:pt x="369691" y="268913"/>
                  </a:lnTo>
                  <a:lnTo>
                    <a:pt x="369691" y="167323"/>
                  </a:lnTo>
                  <a:lnTo>
                    <a:pt x="384198" y="167323"/>
                  </a:lnTo>
                  <a:lnTo>
                    <a:pt x="384198" y="268913"/>
                  </a:lnTo>
                  <a:lnTo>
                    <a:pt x="413211" y="268913"/>
                  </a:lnTo>
                  <a:lnTo>
                    <a:pt x="413211" y="167323"/>
                  </a:lnTo>
                  <a:lnTo>
                    <a:pt x="434970" y="167323"/>
                  </a:lnTo>
                  <a:lnTo>
                    <a:pt x="413211" y="77686"/>
                  </a:lnTo>
                  <a:lnTo>
                    <a:pt x="413211" y="35855"/>
                  </a:lnTo>
                  <a:lnTo>
                    <a:pt x="434970" y="115931"/>
                  </a:lnTo>
                  <a:cubicBezTo>
                    <a:pt x="436421" y="121309"/>
                    <a:pt x="442224" y="125493"/>
                    <a:pt x="449477" y="125493"/>
                  </a:cubicBezTo>
                  <a:cubicBezTo>
                    <a:pt x="449477" y="125493"/>
                    <a:pt x="449477" y="125493"/>
                    <a:pt x="449477" y="125493"/>
                  </a:cubicBezTo>
                  <a:lnTo>
                    <a:pt x="449477" y="125493"/>
                  </a:lnTo>
                  <a:cubicBezTo>
                    <a:pt x="449477" y="125493"/>
                    <a:pt x="449477" y="125493"/>
                    <a:pt x="449477" y="125493"/>
                  </a:cubicBezTo>
                  <a:cubicBezTo>
                    <a:pt x="456005" y="125493"/>
                    <a:pt x="461807" y="121907"/>
                    <a:pt x="463983" y="115931"/>
                  </a:cubicBezTo>
                  <a:lnTo>
                    <a:pt x="485743" y="35855"/>
                  </a:lnTo>
                  <a:lnTo>
                    <a:pt x="485743" y="131468"/>
                  </a:lnTo>
                  <a:lnTo>
                    <a:pt x="485743" y="268913"/>
                  </a:lnTo>
                  <a:lnTo>
                    <a:pt x="514756" y="268913"/>
                  </a:lnTo>
                  <a:lnTo>
                    <a:pt x="514756" y="131468"/>
                  </a:lnTo>
                  <a:lnTo>
                    <a:pt x="529262" y="131468"/>
                  </a:lnTo>
                  <a:lnTo>
                    <a:pt x="529262" y="268913"/>
                  </a:lnTo>
                  <a:lnTo>
                    <a:pt x="558275" y="268913"/>
                  </a:lnTo>
                  <a:lnTo>
                    <a:pt x="558275" y="131468"/>
                  </a:lnTo>
                  <a:lnTo>
                    <a:pt x="558275" y="35855"/>
                  </a:lnTo>
                  <a:lnTo>
                    <a:pt x="580035" y="115931"/>
                  </a:lnTo>
                  <a:cubicBezTo>
                    <a:pt x="581485" y="121309"/>
                    <a:pt x="587288" y="125493"/>
                    <a:pt x="594541" y="125493"/>
                  </a:cubicBezTo>
                  <a:cubicBezTo>
                    <a:pt x="595992" y="125493"/>
                    <a:pt x="598168" y="125493"/>
                    <a:pt x="599618" y="124895"/>
                  </a:cubicBezTo>
                  <a:cubicBezTo>
                    <a:pt x="606146" y="122505"/>
                    <a:pt x="609773" y="116529"/>
                    <a:pt x="608322" y="110553"/>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391" name="Graphic 203" descr="Group">
            <a:extLst>
              <a:ext uri="{FF2B5EF4-FFF2-40B4-BE49-F238E27FC236}">
                <a16:creationId xmlns:a16="http://schemas.microsoft.com/office/drawing/2014/main" id="{22801D1D-2AFC-43D7-8BF4-DDE1523D8065}"/>
              </a:ext>
            </a:extLst>
          </p:cNvPr>
          <p:cNvGrpSpPr/>
          <p:nvPr/>
        </p:nvGrpSpPr>
        <p:grpSpPr>
          <a:xfrm>
            <a:off x="8624992" y="845733"/>
            <a:ext cx="749825" cy="470481"/>
            <a:chOff x="6285793" y="572129"/>
            <a:chExt cx="562369" cy="352861"/>
          </a:xfrm>
        </p:grpSpPr>
        <p:sp>
          <p:nvSpPr>
            <p:cNvPr id="392" name="Freeform: Shape 391">
              <a:extLst>
                <a:ext uri="{FF2B5EF4-FFF2-40B4-BE49-F238E27FC236}">
                  <a16:creationId xmlns:a16="http://schemas.microsoft.com/office/drawing/2014/main" id="{DB2B542A-C58B-43C9-B705-7DD663175096}"/>
                </a:ext>
              </a:extLst>
            </p:cNvPr>
            <p:cNvSpPr/>
            <p:nvPr/>
          </p:nvSpPr>
          <p:spPr>
            <a:xfrm>
              <a:off x="6739546"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93" name="Freeform: Shape 392">
              <a:extLst>
                <a:ext uri="{FF2B5EF4-FFF2-40B4-BE49-F238E27FC236}">
                  <a16:creationId xmlns:a16="http://schemas.microsoft.com/office/drawing/2014/main" id="{9CD16D64-00B3-4362-9E88-D72521A07803}"/>
                </a:ext>
              </a:extLst>
            </p:cNvPr>
            <p:cNvSpPr/>
            <p:nvPr/>
          </p:nvSpPr>
          <p:spPr>
            <a:xfrm>
              <a:off x="6333014"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94" name="Freeform: Shape 393">
              <a:extLst>
                <a:ext uri="{FF2B5EF4-FFF2-40B4-BE49-F238E27FC236}">
                  <a16:creationId xmlns:a16="http://schemas.microsoft.com/office/drawing/2014/main" id="{EB20B572-1998-429D-8068-1D1F80E8E43D}"/>
                </a:ext>
              </a:extLst>
            </p:cNvPr>
            <p:cNvSpPr/>
            <p:nvPr/>
          </p:nvSpPr>
          <p:spPr>
            <a:xfrm>
              <a:off x="660403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95" name="Freeform: Shape 394">
              <a:extLst>
                <a:ext uri="{FF2B5EF4-FFF2-40B4-BE49-F238E27FC236}">
                  <a16:creationId xmlns:a16="http://schemas.microsoft.com/office/drawing/2014/main" id="{9B7D6618-2B57-452F-9A15-46A5D7D9FEC1}"/>
                </a:ext>
              </a:extLst>
            </p:cNvPr>
            <p:cNvSpPr/>
            <p:nvPr/>
          </p:nvSpPr>
          <p:spPr>
            <a:xfrm>
              <a:off x="646852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96" name="Freeform: Shape 395">
              <a:extLst>
                <a:ext uri="{FF2B5EF4-FFF2-40B4-BE49-F238E27FC236}">
                  <a16:creationId xmlns:a16="http://schemas.microsoft.com/office/drawing/2014/main" id="{F1B77BB7-2C2A-44AC-B548-D0F5DE7113E1}"/>
                </a:ext>
              </a:extLst>
            </p:cNvPr>
            <p:cNvSpPr/>
            <p:nvPr/>
          </p:nvSpPr>
          <p:spPr>
            <a:xfrm>
              <a:off x="6285793" y="641441"/>
              <a:ext cx="562369" cy="283549"/>
            </a:xfrm>
            <a:custGeom>
              <a:avLst/>
              <a:gdLst>
                <a:gd name="connsiteX0" fmla="*/ 568259 w 562369"/>
                <a:gd name="connsiteY0" fmla="*/ 116570 h 283548"/>
                <a:gd name="connsiteX1" fmla="*/ 546577 w 562369"/>
                <a:gd name="connsiteY1" fmla="*/ 24574 h 283548"/>
                <a:gd name="connsiteX2" fmla="*/ 541834 w 562369"/>
                <a:gd name="connsiteY2" fmla="*/ 17643 h 283548"/>
                <a:gd name="connsiteX3" fmla="*/ 514732 w 562369"/>
                <a:gd name="connsiteY3" fmla="*/ 4411 h 283548"/>
                <a:gd name="connsiteX4" fmla="*/ 487630 w 562369"/>
                <a:gd name="connsiteY4" fmla="*/ 0 h 283548"/>
                <a:gd name="connsiteX5" fmla="*/ 460528 w 562369"/>
                <a:gd name="connsiteY5" fmla="*/ 4411 h 283548"/>
                <a:gd name="connsiteX6" fmla="*/ 433426 w 562369"/>
                <a:gd name="connsiteY6" fmla="*/ 17643 h 283548"/>
                <a:gd name="connsiteX7" fmla="*/ 428683 w 562369"/>
                <a:gd name="connsiteY7" fmla="*/ 24574 h 283548"/>
                <a:gd name="connsiteX8" fmla="*/ 419875 w 562369"/>
                <a:gd name="connsiteY8" fmla="*/ 61751 h 283548"/>
                <a:gd name="connsiteX9" fmla="*/ 419875 w 562369"/>
                <a:gd name="connsiteY9" fmla="*/ 61751 h 283548"/>
                <a:gd name="connsiteX10" fmla="*/ 411067 w 562369"/>
                <a:gd name="connsiteY10" fmla="*/ 24574 h 283548"/>
                <a:gd name="connsiteX11" fmla="*/ 406324 w 562369"/>
                <a:gd name="connsiteY11" fmla="*/ 17643 h 283548"/>
                <a:gd name="connsiteX12" fmla="*/ 379222 w 562369"/>
                <a:gd name="connsiteY12" fmla="*/ 4411 h 283548"/>
                <a:gd name="connsiteX13" fmla="*/ 352120 w 562369"/>
                <a:gd name="connsiteY13" fmla="*/ 0 h 283548"/>
                <a:gd name="connsiteX14" fmla="*/ 325017 w 562369"/>
                <a:gd name="connsiteY14" fmla="*/ 4411 h 283548"/>
                <a:gd name="connsiteX15" fmla="*/ 297915 w 562369"/>
                <a:gd name="connsiteY15" fmla="*/ 17643 h 283548"/>
                <a:gd name="connsiteX16" fmla="*/ 293172 w 562369"/>
                <a:gd name="connsiteY16" fmla="*/ 24574 h 283548"/>
                <a:gd name="connsiteX17" fmla="*/ 284364 w 562369"/>
                <a:gd name="connsiteY17" fmla="*/ 61121 h 283548"/>
                <a:gd name="connsiteX18" fmla="*/ 284364 w 562369"/>
                <a:gd name="connsiteY18" fmla="*/ 61751 h 283548"/>
                <a:gd name="connsiteX19" fmla="*/ 275556 w 562369"/>
                <a:gd name="connsiteY19" fmla="*/ 24574 h 283548"/>
                <a:gd name="connsiteX20" fmla="*/ 270813 w 562369"/>
                <a:gd name="connsiteY20" fmla="*/ 17643 h 283548"/>
                <a:gd name="connsiteX21" fmla="*/ 243711 w 562369"/>
                <a:gd name="connsiteY21" fmla="*/ 4411 h 283548"/>
                <a:gd name="connsiteX22" fmla="*/ 216609 w 562369"/>
                <a:gd name="connsiteY22" fmla="*/ 0 h 283548"/>
                <a:gd name="connsiteX23" fmla="*/ 189507 w 562369"/>
                <a:gd name="connsiteY23" fmla="*/ 4411 h 283548"/>
                <a:gd name="connsiteX24" fmla="*/ 162405 w 562369"/>
                <a:gd name="connsiteY24" fmla="*/ 17643 h 283548"/>
                <a:gd name="connsiteX25" fmla="*/ 157662 w 562369"/>
                <a:gd name="connsiteY25" fmla="*/ 24574 h 283548"/>
                <a:gd name="connsiteX26" fmla="*/ 148854 w 562369"/>
                <a:gd name="connsiteY26" fmla="*/ 61121 h 283548"/>
                <a:gd name="connsiteX27" fmla="*/ 148854 w 562369"/>
                <a:gd name="connsiteY27" fmla="*/ 61121 h 283548"/>
                <a:gd name="connsiteX28" fmla="*/ 140045 w 562369"/>
                <a:gd name="connsiteY28" fmla="*/ 24574 h 283548"/>
                <a:gd name="connsiteX29" fmla="*/ 135303 w 562369"/>
                <a:gd name="connsiteY29" fmla="*/ 17643 h 283548"/>
                <a:gd name="connsiteX30" fmla="*/ 108200 w 562369"/>
                <a:gd name="connsiteY30" fmla="*/ 4411 h 283548"/>
                <a:gd name="connsiteX31" fmla="*/ 81098 w 562369"/>
                <a:gd name="connsiteY31" fmla="*/ 0 h 283548"/>
                <a:gd name="connsiteX32" fmla="*/ 53996 w 562369"/>
                <a:gd name="connsiteY32" fmla="*/ 4411 h 283548"/>
                <a:gd name="connsiteX33" fmla="*/ 26894 w 562369"/>
                <a:gd name="connsiteY33" fmla="*/ 17643 h 283548"/>
                <a:gd name="connsiteX34" fmla="*/ 22151 w 562369"/>
                <a:gd name="connsiteY34" fmla="*/ 24574 h 283548"/>
                <a:gd name="connsiteX35" fmla="*/ 469 w 562369"/>
                <a:gd name="connsiteY35" fmla="*/ 115940 h 283548"/>
                <a:gd name="connsiteX36" fmla="*/ 11310 w 562369"/>
                <a:gd name="connsiteY36" fmla="*/ 131693 h 283548"/>
                <a:gd name="connsiteX37" fmla="*/ 13343 w 562369"/>
                <a:gd name="connsiteY37" fmla="*/ 131693 h 283548"/>
                <a:gd name="connsiteX38" fmla="*/ 26894 w 562369"/>
                <a:gd name="connsiteY38" fmla="*/ 121611 h 283548"/>
                <a:gd name="connsiteX39" fmla="*/ 47221 w 562369"/>
                <a:gd name="connsiteY39" fmla="*/ 37807 h 283548"/>
                <a:gd name="connsiteX40" fmla="*/ 47221 w 562369"/>
                <a:gd name="connsiteY40" fmla="*/ 82544 h 283548"/>
                <a:gd name="connsiteX41" fmla="*/ 26894 w 562369"/>
                <a:gd name="connsiteY41" fmla="*/ 176430 h 283548"/>
                <a:gd name="connsiteX42" fmla="*/ 47221 w 562369"/>
                <a:gd name="connsiteY42" fmla="*/ 176430 h 283548"/>
                <a:gd name="connsiteX43" fmla="*/ 47221 w 562369"/>
                <a:gd name="connsiteY43" fmla="*/ 283549 h 283548"/>
                <a:gd name="connsiteX44" fmla="*/ 74323 w 562369"/>
                <a:gd name="connsiteY44" fmla="*/ 283549 h 283548"/>
                <a:gd name="connsiteX45" fmla="*/ 74323 w 562369"/>
                <a:gd name="connsiteY45" fmla="*/ 176430 h 283548"/>
                <a:gd name="connsiteX46" fmla="*/ 87874 w 562369"/>
                <a:gd name="connsiteY46" fmla="*/ 176430 h 283548"/>
                <a:gd name="connsiteX47" fmla="*/ 87874 w 562369"/>
                <a:gd name="connsiteY47" fmla="*/ 283549 h 283548"/>
                <a:gd name="connsiteX48" fmla="*/ 114976 w 562369"/>
                <a:gd name="connsiteY48" fmla="*/ 283549 h 283548"/>
                <a:gd name="connsiteX49" fmla="*/ 114976 w 562369"/>
                <a:gd name="connsiteY49" fmla="*/ 176430 h 283548"/>
                <a:gd name="connsiteX50" fmla="*/ 135303 w 562369"/>
                <a:gd name="connsiteY50" fmla="*/ 176430 h 283548"/>
                <a:gd name="connsiteX51" fmla="*/ 114976 w 562369"/>
                <a:gd name="connsiteY51" fmla="*/ 82544 h 283548"/>
                <a:gd name="connsiteX52" fmla="*/ 114976 w 562369"/>
                <a:gd name="connsiteY52" fmla="*/ 37807 h 283548"/>
                <a:gd name="connsiteX53" fmla="*/ 135303 w 562369"/>
                <a:gd name="connsiteY53" fmla="*/ 122241 h 283548"/>
                <a:gd name="connsiteX54" fmla="*/ 148176 w 562369"/>
                <a:gd name="connsiteY54" fmla="*/ 132323 h 283548"/>
                <a:gd name="connsiteX55" fmla="*/ 148176 w 562369"/>
                <a:gd name="connsiteY55" fmla="*/ 132323 h 283548"/>
                <a:gd name="connsiteX56" fmla="*/ 161050 w 562369"/>
                <a:gd name="connsiteY56" fmla="*/ 122241 h 283548"/>
                <a:gd name="connsiteX57" fmla="*/ 182731 w 562369"/>
                <a:gd name="connsiteY57" fmla="*/ 37807 h 283548"/>
                <a:gd name="connsiteX58" fmla="*/ 182731 w 562369"/>
                <a:gd name="connsiteY58" fmla="*/ 138624 h 283548"/>
                <a:gd name="connsiteX59" fmla="*/ 182731 w 562369"/>
                <a:gd name="connsiteY59" fmla="*/ 283549 h 283548"/>
                <a:gd name="connsiteX60" fmla="*/ 209833 w 562369"/>
                <a:gd name="connsiteY60" fmla="*/ 283549 h 283548"/>
                <a:gd name="connsiteX61" fmla="*/ 209833 w 562369"/>
                <a:gd name="connsiteY61" fmla="*/ 138624 h 283548"/>
                <a:gd name="connsiteX62" fmla="*/ 223384 w 562369"/>
                <a:gd name="connsiteY62" fmla="*/ 138624 h 283548"/>
                <a:gd name="connsiteX63" fmla="*/ 223384 w 562369"/>
                <a:gd name="connsiteY63" fmla="*/ 283549 h 283548"/>
                <a:gd name="connsiteX64" fmla="*/ 250487 w 562369"/>
                <a:gd name="connsiteY64" fmla="*/ 283549 h 283548"/>
                <a:gd name="connsiteX65" fmla="*/ 250487 w 562369"/>
                <a:gd name="connsiteY65" fmla="*/ 138624 h 283548"/>
                <a:gd name="connsiteX66" fmla="*/ 250487 w 562369"/>
                <a:gd name="connsiteY66" fmla="*/ 37807 h 283548"/>
                <a:gd name="connsiteX67" fmla="*/ 270813 w 562369"/>
                <a:gd name="connsiteY67" fmla="*/ 122241 h 283548"/>
                <a:gd name="connsiteX68" fmla="*/ 284364 w 562369"/>
                <a:gd name="connsiteY68" fmla="*/ 132323 h 283548"/>
                <a:gd name="connsiteX69" fmla="*/ 284364 w 562369"/>
                <a:gd name="connsiteY69" fmla="*/ 132323 h 283548"/>
                <a:gd name="connsiteX70" fmla="*/ 284364 w 562369"/>
                <a:gd name="connsiteY70" fmla="*/ 132323 h 283548"/>
                <a:gd name="connsiteX71" fmla="*/ 297238 w 562369"/>
                <a:gd name="connsiteY71" fmla="*/ 122241 h 283548"/>
                <a:gd name="connsiteX72" fmla="*/ 318242 w 562369"/>
                <a:gd name="connsiteY72" fmla="*/ 37807 h 283548"/>
                <a:gd name="connsiteX73" fmla="*/ 318242 w 562369"/>
                <a:gd name="connsiteY73" fmla="*/ 83174 h 283548"/>
                <a:gd name="connsiteX74" fmla="*/ 297915 w 562369"/>
                <a:gd name="connsiteY74" fmla="*/ 176430 h 283548"/>
                <a:gd name="connsiteX75" fmla="*/ 318242 w 562369"/>
                <a:gd name="connsiteY75" fmla="*/ 176430 h 283548"/>
                <a:gd name="connsiteX76" fmla="*/ 318242 w 562369"/>
                <a:gd name="connsiteY76" fmla="*/ 283549 h 283548"/>
                <a:gd name="connsiteX77" fmla="*/ 345344 w 562369"/>
                <a:gd name="connsiteY77" fmla="*/ 283549 h 283548"/>
                <a:gd name="connsiteX78" fmla="*/ 345344 w 562369"/>
                <a:gd name="connsiteY78" fmla="*/ 176430 h 283548"/>
                <a:gd name="connsiteX79" fmla="*/ 358895 w 562369"/>
                <a:gd name="connsiteY79" fmla="*/ 176430 h 283548"/>
                <a:gd name="connsiteX80" fmla="*/ 358895 w 562369"/>
                <a:gd name="connsiteY80" fmla="*/ 283549 h 283548"/>
                <a:gd name="connsiteX81" fmla="*/ 385997 w 562369"/>
                <a:gd name="connsiteY81" fmla="*/ 283549 h 283548"/>
                <a:gd name="connsiteX82" fmla="*/ 385997 w 562369"/>
                <a:gd name="connsiteY82" fmla="*/ 176430 h 283548"/>
                <a:gd name="connsiteX83" fmla="*/ 406324 w 562369"/>
                <a:gd name="connsiteY83" fmla="*/ 176430 h 283548"/>
                <a:gd name="connsiteX84" fmla="*/ 385997 w 562369"/>
                <a:gd name="connsiteY84" fmla="*/ 81914 h 283548"/>
                <a:gd name="connsiteX85" fmla="*/ 385997 w 562369"/>
                <a:gd name="connsiteY85" fmla="*/ 37807 h 283548"/>
                <a:gd name="connsiteX86" fmla="*/ 406324 w 562369"/>
                <a:gd name="connsiteY86" fmla="*/ 122241 h 283548"/>
                <a:gd name="connsiteX87" fmla="*/ 419875 w 562369"/>
                <a:gd name="connsiteY87" fmla="*/ 132323 h 283548"/>
                <a:gd name="connsiteX88" fmla="*/ 419875 w 562369"/>
                <a:gd name="connsiteY88" fmla="*/ 132323 h 283548"/>
                <a:gd name="connsiteX89" fmla="*/ 419875 w 562369"/>
                <a:gd name="connsiteY89" fmla="*/ 132323 h 283548"/>
                <a:gd name="connsiteX90" fmla="*/ 419875 w 562369"/>
                <a:gd name="connsiteY90" fmla="*/ 132323 h 283548"/>
                <a:gd name="connsiteX91" fmla="*/ 433426 w 562369"/>
                <a:gd name="connsiteY91" fmla="*/ 122241 h 283548"/>
                <a:gd name="connsiteX92" fmla="*/ 453753 w 562369"/>
                <a:gd name="connsiteY92" fmla="*/ 37807 h 283548"/>
                <a:gd name="connsiteX93" fmla="*/ 453753 w 562369"/>
                <a:gd name="connsiteY93" fmla="*/ 138624 h 283548"/>
                <a:gd name="connsiteX94" fmla="*/ 453753 w 562369"/>
                <a:gd name="connsiteY94" fmla="*/ 283549 h 283548"/>
                <a:gd name="connsiteX95" fmla="*/ 480855 w 562369"/>
                <a:gd name="connsiteY95" fmla="*/ 283549 h 283548"/>
                <a:gd name="connsiteX96" fmla="*/ 480855 w 562369"/>
                <a:gd name="connsiteY96" fmla="*/ 138624 h 283548"/>
                <a:gd name="connsiteX97" fmla="*/ 494406 w 562369"/>
                <a:gd name="connsiteY97" fmla="*/ 138624 h 283548"/>
                <a:gd name="connsiteX98" fmla="*/ 494406 w 562369"/>
                <a:gd name="connsiteY98" fmla="*/ 283549 h 283548"/>
                <a:gd name="connsiteX99" fmla="*/ 521508 w 562369"/>
                <a:gd name="connsiteY99" fmla="*/ 283549 h 283548"/>
                <a:gd name="connsiteX100" fmla="*/ 521508 w 562369"/>
                <a:gd name="connsiteY100" fmla="*/ 138624 h 283548"/>
                <a:gd name="connsiteX101" fmla="*/ 521508 w 562369"/>
                <a:gd name="connsiteY101" fmla="*/ 37807 h 283548"/>
                <a:gd name="connsiteX102" fmla="*/ 541834 w 562369"/>
                <a:gd name="connsiteY102" fmla="*/ 122241 h 283548"/>
                <a:gd name="connsiteX103" fmla="*/ 555386 w 562369"/>
                <a:gd name="connsiteY103" fmla="*/ 132323 h 283548"/>
                <a:gd name="connsiteX104" fmla="*/ 560128 w 562369"/>
                <a:gd name="connsiteY104" fmla="*/ 131693 h 283548"/>
                <a:gd name="connsiteX105" fmla="*/ 568259 w 562369"/>
                <a:gd name="connsiteY105" fmla="*/ 116570 h 28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62369" h="283548">
                  <a:moveTo>
                    <a:pt x="568259" y="116570"/>
                  </a:moveTo>
                  <a:lnTo>
                    <a:pt x="546577" y="24574"/>
                  </a:lnTo>
                  <a:cubicBezTo>
                    <a:pt x="545900" y="22054"/>
                    <a:pt x="544545" y="19533"/>
                    <a:pt x="541834" y="17643"/>
                  </a:cubicBezTo>
                  <a:cubicBezTo>
                    <a:pt x="533704" y="11972"/>
                    <a:pt x="524896" y="6931"/>
                    <a:pt x="514732" y="4411"/>
                  </a:cubicBezTo>
                  <a:cubicBezTo>
                    <a:pt x="505924" y="1890"/>
                    <a:pt x="497116" y="0"/>
                    <a:pt x="487630" y="0"/>
                  </a:cubicBezTo>
                  <a:cubicBezTo>
                    <a:pt x="478144" y="0"/>
                    <a:pt x="468659" y="1260"/>
                    <a:pt x="460528" y="4411"/>
                  </a:cubicBezTo>
                  <a:cubicBezTo>
                    <a:pt x="450365" y="7561"/>
                    <a:pt x="441557" y="11972"/>
                    <a:pt x="433426" y="17643"/>
                  </a:cubicBezTo>
                  <a:cubicBezTo>
                    <a:pt x="430716" y="19533"/>
                    <a:pt x="429361" y="22054"/>
                    <a:pt x="428683" y="24574"/>
                  </a:cubicBezTo>
                  <a:lnTo>
                    <a:pt x="419875" y="61751"/>
                  </a:lnTo>
                  <a:lnTo>
                    <a:pt x="419875" y="61751"/>
                  </a:lnTo>
                  <a:lnTo>
                    <a:pt x="411067" y="24574"/>
                  </a:lnTo>
                  <a:cubicBezTo>
                    <a:pt x="410389" y="22054"/>
                    <a:pt x="409034" y="19533"/>
                    <a:pt x="406324" y="17643"/>
                  </a:cubicBezTo>
                  <a:cubicBezTo>
                    <a:pt x="398193" y="11972"/>
                    <a:pt x="389385" y="6931"/>
                    <a:pt x="379222" y="4411"/>
                  </a:cubicBezTo>
                  <a:cubicBezTo>
                    <a:pt x="370414" y="1890"/>
                    <a:pt x="361605" y="0"/>
                    <a:pt x="352120" y="0"/>
                  </a:cubicBezTo>
                  <a:cubicBezTo>
                    <a:pt x="342634" y="0"/>
                    <a:pt x="333148" y="1260"/>
                    <a:pt x="325017" y="4411"/>
                  </a:cubicBezTo>
                  <a:cubicBezTo>
                    <a:pt x="314854" y="7561"/>
                    <a:pt x="306046" y="11972"/>
                    <a:pt x="297915" y="17643"/>
                  </a:cubicBezTo>
                  <a:cubicBezTo>
                    <a:pt x="295205" y="19533"/>
                    <a:pt x="293850" y="22054"/>
                    <a:pt x="293172" y="24574"/>
                  </a:cubicBezTo>
                  <a:lnTo>
                    <a:pt x="284364" y="61121"/>
                  </a:lnTo>
                  <a:lnTo>
                    <a:pt x="284364" y="61751"/>
                  </a:lnTo>
                  <a:lnTo>
                    <a:pt x="275556" y="24574"/>
                  </a:lnTo>
                  <a:cubicBezTo>
                    <a:pt x="274878" y="22054"/>
                    <a:pt x="273523" y="19533"/>
                    <a:pt x="270813" y="17643"/>
                  </a:cubicBezTo>
                  <a:cubicBezTo>
                    <a:pt x="262683" y="11972"/>
                    <a:pt x="253874" y="6931"/>
                    <a:pt x="243711" y="4411"/>
                  </a:cubicBezTo>
                  <a:cubicBezTo>
                    <a:pt x="234903" y="1890"/>
                    <a:pt x="226095" y="0"/>
                    <a:pt x="216609" y="0"/>
                  </a:cubicBezTo>
                  <a:cubicBezTo>
                    <a:pt x="207123" y="0"/>
                    <a:pt x="197637" y="1260"/>
                    <a:pt x="189507" y="4411"/>
                  </a:cubicBezTo>
                  <a:cubicBezTo>
                    <a:pt x="179344" y="7561"/>
                    <a:pt x="170535" y="11972"/>
                    <a:pt x="162405" y="17643"/>
                  </a:cubicBezTo>
                  <a:cubicBezTo>
                    <a:pt x="159694" y="19533"/>
                    <a:pt x="158339" y="22054"/>
                    <a:pt x="157662" y="24574"/>
                  </a:cubicBezTo>
                  <a:lnTo>
                    <a:pt x="148854" y="61121"/>
                  </a:lnTo>
                  <a:lnTo>
                    <a:pt x="148854" y="61121"/>
                  </a:lnTo>
                  <a:lnTo>
                    <a:pt x="140045" y="24574"/>
                  </a:lnTo>
                  <a:cubicBezTo>
                    <a:pt x="139368" y="22054"/>
                    <a:pt x="138013" y="19533"/>
                    <a:pt x="135303" y="17643"/>
                  </a:cubicBezTo>
                  <a:cubicBezTo>
                    <a:pt x="127172" y="11972"/>
                    <a:pt x="118364" y="6931"/>
                    <a:pt x="108200" y="4411"/>
                  </a:cubicBezTo>
                  <a:cubicBezTo>
                    <a:pt x="99392" y="1890"/>
                    <a:pt x="90584" y="0"/>
                    <a:pt x="81098" y="0"/>
                  </a:cubicBezTo>
                  <a:cubicBezTo>
                    <a:pt x="71613" y="0"/>
                    <a:pt x="62127" y="1260"/>
                    <a:pt x="53996" y="4411"/>
                  </a:cubicBezTo>
                  <a:cubicBezTo>
                    <a:pt x="43833" y="7561"/>
                    <a:pt x="35025" y="11972"/>
                    <a:pt x="26894" y="17643"/>
                  </a:cubicBezTo>
                  <a:cubicBezTo>
                    <a:pt x="24184" y="19533"/>
                    <a:pt x="22829" y="22054"/>
                    <a:pt x="22151" y="24574"/>
                  </a:cubicBezTo>
                  <a:lnTo>
                    <a:pt x="469" y="115940"/>
                  </a:lnTo>
                  <a:cubicBezTo>
                    <a:pt x="-1563" y="122871"/>
                    <a:pt x="3180" y="130432"/>
                    <a:pt x="11310" y="131693"/>
                  </a:cubicBezTo>
                  <a:cubicBezTo>
                    <a:pt x="11988" y="131693"/>
                    <a:pt x="12665" y="131693"/>
                    <a:pt x="13343" y="131693"/>
                  </a:cubicBezTo>
                  <a:cubicBezTo>
                    <a:pt x="19441" y="131693"/>
                    <a:pt x="24861" y="127912"/>
                    <a:pt x="26894" y="121611"/>
                  </a:cubicBezTo>
                  <a:lnTo>
                    <a:pt x="47221" y="37807"/>
                  </a:lnTo>
                  <a:lnTo>
                    <a:pt x="47221" y="82544"/>
                  </a:lnTo>
                  <a:lnTo>
                    <a:pt x="26894" y="176430"/>
                  </a:lnTo>
                  <a:lnTo>
                    <a:pt x="47221" y="176430"/>
                  </a:lnTo>
                  <a:lnTo>
                    <a:pt x="47221" y="283549"/>
                  </a:lnTo>
                  <a:lnTo>
                    <a:pt x="74323" y="283549"/>
                  </a:lnTo>
                  <a:lnTo>
                    <a:pt x="74323" y="176430"/>
                  </a:lnTo>
                  <a:lnTo>
                    <a:pt x="87874" y="176430"/>
                  </a:lnTo>
                  <a:lnTo>
                    <a:pt x="87874" y="283549"/>
                  </a:lnTo>
                  <a:lnTo>
                    <a:pt x="114976" y="283549"/>
                  </a:lnTo>
                  <a:lnTo>
                    <a:pt x="114976" y="176430"/>
                  </a:lnTo>
                  <a:lnTo>
                    <a:pt x="135303" y="176430"/>
                  </a:lnTo>
                  <a:lnTo>
                    <a:pt x="114976" y="82544"/>
                  </a:lnTo>
                  <a:lnTo>
                    <a:pt x="114976" y="37807"/>
                  </a:lnTo>
                  <a:lnTo>
                    <a:pt x="135303" y="122241"/>
                  </a:lnTo>
                  <a:cubicBezTo>
                    <a:pt x="136658" y="127912"/>
                    <a:pt x="142078" y="132323"/>
                    <a:pt x="148176" y="132323"/>
                  </a:cubicBezTo>
                  <a:lnTo>
                    <a:pt x="148176" y="132323"/>
                  </a:lnTo>
                  <a:cubicBezTo>
                    <a:pt x="154274" y="132323"/>
                    <a:pt x="159694" y="128542"/>
                    <a:pt x="161050" y="122241"/>
                  </a:cubicBezTo>
                  <a:lnTo>
                    <a:pt x="182731" y="37807"/>
                  </a:lnTo>
                  <a:lnTo>
                    <a:pt x="182731" y="138624"/>
                  </a:lnTo>
                  <a:lnTo>
                    <a:pt x="182731" y="283549"/>
                  </a:lnTo>
                  <a:lnTo>
                    <a:pt x="209833" y="283549"/>
                  </a:lnTo>
                  <a:lnTo>
                    <a:pt x="209833" y="138624"/>
                  </a:lnTo>
                  <a:lnTo>
                    <a:pt x="223384" y="138624"/>
                  </a:lnTo>
                  <a:lnTo>
                    <a:pt x="223384" y="283549"/>
                  </a:lnTo>
                  <a:lnTo>
                    <a:pt x="250487" y="283549"/>
                  </a:lnTo>
                  <a:lnTo>
                    <a:pt x="250487" y="138624"/>
                  </a:lnTo>
                  <a:lnTo>
                    <a:pt x="250487" y="37807"/>
                  </a:lnTo>
                  <a:lnTo>
                    <a:pt x="270813" y="122241"/>
                  </a:lnTo>
                  <a:cubicBezTo>
                    <a:pt x="272168" y="127912"/>
                    <a:pt x="277589" y="132323"/>
                    <a:pt x="284364" y="132323"/>
                  </a:cubicBezTo>
                  <a:cubicBezTo>
                    <a:pt x="284364" y="132323"/>
                    <a:pt x="284364" y="132323"/>
                    <a:pt x="284364" y="132323"/>
                  </a:cubicBezTo>
                  <a:lnTo>
                    <a:pt x="284364" y="132323"/>
                  </a:lnTo>
                  <a:cubicBezTo>
                    <a:pt x="290462" y="132323"/>
                    <a:pt x="295883" y="128542"/>
                    <a:pt x="297238" y="122241"/>
                  </a:cubicBezTo>
                  <a:lnTo>
                    <a:pt x="318242" y="37807"/>
                  </a:lnTo>
                  <a:lnTo>
                    <a:pt x="318242" y="83174"/>
                  </a:lnTo>
                  <a:lnTo>
                    <a:pt x="297915" y="176430"/>
                  </a:lnTo>
                  <a:lnTo>
                    <a:pt x="318242" y="176430"/>
                  </a:lnTo>
                  <a:lnTo>
                    <a:pt x="318242" y="283549"/>
                  </a:lnTo>
                  <a:lnTo>
                    <a:pt x="345344" y="283549"/>
                  </a:lnTo>
                  <a:lnTo>
                    <a:pt x="345344" y="176430"/>
                  </a:lnTo>
                  <a:lnTo>
                    <a:pt x="358895" y="176430"/>
                  </a:lnTo>
                  <a:lnTo>
                    <a:pt x="358895" y="283549"/>
                  </a:lnTo>
                  <a:lnTo>
                    <a:pt x="385997" y="283549"/>
                  </a:lnTo>
                  <a:lnTo>
                    <a:pt x="385997" y="176430"/>
                  </a:lnTo>
                  <a:lnTo>
                    <a:pt x="406324" y="176430"/>
                  </a:lnTo>
                  <a:lnTo>
                    <a:pt x="385997" y="81914"/>
                  </a:lnTo>
                  <a:lnTo>
                    <a:pt x="385997" y="37807"/>
                  </a:lnTo>
                  <a:lnTo>
                    <a:pt x="406324" y="122241"/>
                  </a:lnTo>
                  <a:cubicBezTo>
                    <a:pt x="407679" y="127912"/>
                    <a:pt x="413099" y="132323"/>
                    <a:pt x="419875" y="132323"/>
                  </a:cubicBezTo>
                  <a:cubicBezTo>
                    <a:pt x="419875" y="132323"/>
                    <a:pt x="419875" y="132323"/>
                    <a:pt x="419875" y="132323"/>
                  </a:cubicBezTo>
                  <a:lnTo>
                    <a:pt x="419875" y="132323"/>
                  </a:lnTo>
                  <a:cubicBezTo>
                    <a:pt x="419875" y="132323"/>
                    <a:pt x="419875" y="132323"/>
                    <a:pt x="419875" y="132323"/>
                  </a:cubicBezTo>
                  <a:cubicBezTo>
                    <a:pt x="425973" y="132323"/>
                    <a:pt x="431393" y="128542"/>
                    <a:pt x="433426" y="122241"/>
                  </a:cubicBezTo>
                  <a:lnTo>
                    <a:pt x="453753" y="37807"/>
                  </a:lnTo>
                  <a:lnTo>
                    <a:pt x="453753" y="138624"/>
                  </a:lnTo>
                  <a:lnTo>
                    <a:pt x="453753" y="283549"/>
                  </a:lnTo>
                  <a:lnTo>
                    <a:pt x="480855" y="283549"/>
                  </a:lnTo>
                  <a:lnTo>
                    <a:pt x="480855" y="138624"/>
                  </a:lnTo>
                  <a:lnTo>
                    <a:pt x="494406" y="138624"/>
                  </a:lnTo>
                  <a:lnTo>
                    <a:pt x="494406" y="283549"/>
                  </a:lnTo>
                  <a:lnTo>
                    <a:pt x="521508" y="283549"/>
                  </a:lnTo>
                  <a:lnTo>
                    <a:pt x="521508" y="138624"/>
                  </a:lnTo>
                  <a:lnTo>
                    <a:pt x="521508" y="37807"/>
                  </a:lnTo>
                  <a:lnTo>
                    <a:pt x="541834" y="122241"/>
                  </a:lnTo>
                  <a:cubicBezTo>
                    <a:pt x="543190" y="127912"/>
                    <a:pt x="548610" y="132323"/>
                    <a:pt x="555386" y="132323"/>
                  </a:cubicBezTo>
                  <a:cubicBezTo>
                    <a:pt x="556741" y="132323"/>
                    <a:pt x="558773" y="132323"/>
                    <a:pt x="560128" y="131693"/>
                  </a:cubicBezTo>
                  <a:cubicBezTo>
                    <a:pt x="566226" y="129172"/>
                    <a:pt x="569614" y="122871"/>
                    <a:pt x="568259" y="116570"/>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397" name="Graphic 205" descr="Group">
            <a:extLst>
              <a:ext uri="{FF2B5EF4-FFF2-40B4-BE49-F238E27FC236}">
                <a16:creationId xmlns:a16="http://schemas.microsoft.com/office/drawing/2014/main" id="{97308EF1-DB19-4754-854D-74258BE11F96}"/>
              </a:ext>
            </a:extLst>
          </p:cNvPr>
          <p:cNvGrpSpPr/>
          <p:nvPr/>
        </p:nvGrpSpPr>
        <p:grpSpPr>
          <a:xfrm>
            <a:off x="10360999" y="843715"/>
            <a:ext cx="844172" cy="472780"/>
            <a:chOff x="7560077" y="594700"/>
            <a:chExt cx="633129" cy="354585"/>
          </a:xfrm>
        </p:grpSpPr>
        <p:sp>
          <p:nvSpPr>
            <p:cNvPr id="398" name="Freeform: Shape 397">
              <a:extLst>
                <a:ext uri="{FF2B5EF4-FFF2-40B4-BE49-F238E27FC236}">
                  <a16:creationId xmlns:a16="http://schemas.microsoft.com/office/drawing/2014/main" id="{9BDCFCEA-B0AE-4E17-B765-AD86CAE657BE}"/>
                </a:ext>
              </a:extLst>
            </p:cNvPr>
            <p:cNvSpPr/>
            <p:nvPr/>
          </p:nvSpPr>
          <p:spPr>
            <a:xfrm>
              <a:off x="8070923"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99" name="Freeform: Shape 398">
              <a:extLst>
                <a:ext uri="{FF2B5EF4-FFF2-40B4-BE49-F238E27FC236}">
                  <a16:creationId xmlns:a16="http://schemas.microsoft.com/office/drawing/2014/main" id="{671EC797-F378-4778-90BB-CFDC67A66824}"/>
                </a:ext>
              </a:extLst>
            </p:cNvPr>
            <p:cNvSpPr/>
            <p:nvPr/>
          </p:nvSpPr>
          <p:spPr>
            <a:xfrm>
              <a:off x="7613239"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00" name="Freeform: Shape 399">
              <a:extLst>
                <a:ext uri="{FF2B5EF4-FFF2-40B4-BE49-F238E27FC236}">
                  <a16:creationId xmlns:a16="http://schemas.microsoft.com/office/drawing/2014/main" id="{CF5B1EDC-D079-42F4-8F16-0D74D3580E53}"/>
                </a:ext>
              </a:extLst>
            </p:cNvPr>
            <p:cNvSpPr/>
            <p:nvPr/>
          </p:nvSpPr>
          <p:spPr>
            <a:xfrm>
              <a:off x="7918361"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01" name="Freeform: Shape 400">
              <a:extLst>
                <a:ext uri="{FF2B5EF4-FFF2-40B4-BE49-F238E27FC236}">
                  <a16:creationId xmlns:a16="http://schemas.microsoft.com/office/drawing/2014/main" id="{9B5C25BC-4C6C-4FFE-BCF4-324492B73770}"/>
                </a:ext>
              </a:extLst>
            </p:cNvPr>
            <p:cNvSpPr/>
            <p:nvPr/>
          </p:nvSpPr>
          <p:spPr>
            <a:xfrm>
              <a:off x="7765800"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02" name="Freeform: Shape 401">
              <a:extLst>
                <a:ext uri="{FF2B5EF4-FFF2-40B4-BE49-F238E27FC236}">
                  <a16:creationId xmlns:a16="http://schemas.microsoft.com/office/drawing/2014/main" id="{DF921A4A-D281-43D2-A25A-4750B82EADAC}"/>
                </a:ext>
              </a:extLst>
            </p:cNvPr>
            <p:cNvSpPr/>
            <p:nvPr/>
          </p:nvSpPr>
          <p:spPr>
            <a:xfrm>
              <a:off x="7560077" y="664350"/>
              <a:ext cx="633129" cy="284935"/>
            </a:xfrm>
            <a:custGeom>
              <a:avLst/>
              <a:gdLst>
                <a:gd name="connsiteX0" fmla="*/ 639760 w 633129"/>
                <a:gd name="connsiteY0" fmla="*/ 117140 h 284934"/>
                <a:gd name="connsiteX1" fmla="*/ 615350 w 633129"/>
                <a:gd name="connsiteY1" fmla="*/ 24694 h 284934"/>
                <a:gd name="connsiteX2" fmla="*/ 610011 w 633129"/>
                <a:gd name="connsiteY2" fmla="*/ 17729 h 284934"/>
                <a:gd name="connsiteX3" fmla="*/ 579499 w 633129"/>
                <a:gd name="connsiteY3" fmla="*/ 4432 h 284934"/>
                <a:gd name="connsiteX4" fmla="*/ 548986 w 633129"/>
                <a:gd name="connsiteY4" fmla="*/ 0 h 284934"/>
                <a:gd name="connsiteX5" fmla="*/ 518474 w 633129"/>
                <a:gd name="connsiteY5" fmla="*/ 4432 h 284934"/>
                <a:gd name="connsiteX6" fmla="*/ 487962 w 633129"/>
                <a:gd name="connsiteY6" fmla="*/ 17729 h 284934"/>
                <a:gd name="connsiteX7" fmla="*/ 482622 w 633129"/>
                <a:gd name="connsiteY7" fmla="*/ 24694 h 284934"/>
                <a:gd name="connsiteX8" fmla="*/ 472706 w 633129"/>
                <a:gd name="connsiteY8" fmla="*/ 62052 h 284934"/>
                <a:gd name="connsiteX9" fmla="*/ 472706 w 633129"/>
                <a:gd name="connsiteY9" fmla="*/ 62052 h 284934"/>
                <a:gd name="connsiteX10" fmla="*/ 462789 w 633129"/>
                <a:gd name="connsiteY10" fmla="*/ 24694 h 284934"/>
                <a:gd name="connsiteX11" fmla="*/ 457450 w 633129"/>
                <a:gd name="connsiteY11" fmla="*/ 17729 h 284934"/>
                <a:gd name="connsiteX12" fmla="*/ 426937 w 633129"/>
                <a:gd name="connsiteY12" fmla="*/ 4432 h 284934"/>
                <a:gd name="connsiteX13" fmla="*/ 396425 w 633129"/>
                <a:gd name="connsiteY13" fmla="*/ 0 h 284934"/>
                <a:gd name="connsiteX14" fmla="*/ 365913 w 633129"/>
                <a:gd name="connsiteY14" fmla="*/ 4432 h 284934"/>
                <a:gd name="connsiteX15" fmla="*/ 335401 w 633129"/>
                <a:gd name="connsiteY15" fmla="*/ 17729 h 284934"/>
                <a:gd name="connsiteX16" fmla="*/ 330061 w 633129"/>
                <a:gd name="connsiteY16" fmla="*/ 24694 h 284934"/>
                <a:gd name="connsiteX17" fmla="*/ 320144 w 633129"/>
                <a:gd name="connsiteY17" fmla="*/ 61419 h 284934"/>
                <a:gd name="connsiteX18" fmla="*/ 320144 w 633129"/>
                <a:gd name="connsiteY18" fmla="*/ 62052 h 284934"/>
                <a:gd name="connsiteX19" fmla="*/ 310228 w 633129"/>
                <a:gd name="connsiteY19" fmla="*/ 24694 h 284934"/>
                <a:gd name="connsiteX20" fmla="*/ 304888 w 633129"/>
                <a:gd name="connsiteY20" fmla="*/ 17729 h 284934"/>
                <a:gd name="connsiteX21" fmla="*/ 274376 w 633129"/>
                <a:gd name="connsiteY21" fmla="*/ 4432 h 284934"/>
                <a:gd name="connsiteX22" fmla="*/ 243864 w 633129"/>
                <a:gd name="connsiteY22" fmla="*/ 0 h 284934"/>
                <a:gd name="connsiteX23" fmla="*/ 213352 w 633129"/>
                <a:gd name="connsiteY23" fmla="*/ 4432 h 284934"/>
                <a:gd name="connsiteX24" fmla="*/ 182839 w 633129"/>
                <a:gd name="connsiteY24" fmla="*/ 17729 h 284934"/>
                <a:gd name="connsiteX25" fmla="*/ 177500 w 633129"/>
                <a:gd name="connsiteY25" fmla="*/ 24694 h 284934"/>
                <a:gd name="connsiteX26" fmla="*/ 167583 w 633129"/>
                <a:gd name="connsiteY26" fmla="*/ 61419 h 284934"/>
                <a:gd name="connsiteX27" fmla="*/ 167583 w 633129"/>
                <a:gd name="connsiteY27" fmla="*/ 61419 h 284934"/>
                <a:gd name="connsiteX28" fmla="*/ 157667 w 633129"/>
                <a:gd name="connsiteY28" fmla="*/ 24694 h 284934"/>
                <a:gd name="connsiteX29" fmla="*/ 152327 w 633129"/>
                <a:gd name="connsiteY29" fmla="*/ 17729 h 284934"/>
                <a:gd name="connsiteX30" fmla="*/ 121815 w 633129"/>
                <a:gd name="connsiteY30" fmla="*/ 4432 h 284934"/>
                <a:gd name="connsiteX31" fmla="*/ 91302 w 633129"/>
                <a:gd name="connsiteY31" fmla="*/ 0 h 284934"/>
                <a:gd name="connsiteX32" fmla="*/ 60790 w 633129"/>
                <a:gd name="connsiteY32" fmla="*/ 4432 h 284934"/>
                <a:gd name="connsiteX33" fmla="*/ 30278 w 633129"/>
                <a:gd name="connsiteY33" fmla="*/ 17729 h 284934"/>
                <a:gd name="connsiteX34" fmla="*/ 24938 w 633129"/>
                <a:gd name="connsiteY34" fmla="*/ 24694 h 284934"/>
                <a:gd name="connsiteX35" fmla="*/ 529 w 633129"/>
                <a:gd name="connsiteY35" fmla="*/ 116507 h 284934"/>
                <a:gd name="connsiteX36" fmla="*/ 12733 w 633129"/>
                <a:gd name="connsiteY36" fmla="*/ 132336 h 284934"/>
                <a:gd name="connsiteX37" fmla="*/ 15022 w 633129"/>
                <a:gd name="connsiteY37" fmla="*/ 132336 h 284934"/>
                <a:gd name="connsiteX38" fmla="*/ 30278 w 633129"/>
                <a:gd name="connsiteY38" fmla="*/ 122205 h 284934"/>
                <a:gd name="connsiteX39" fmla="*/ 53162 w 633129"/>
                <a:gd name="connsiteY39" fmla="*/ 37991 h 284934"/>
                <a:gd name="connsiteX40" fmla="*/ 53162 w 633129"/>
                <a:gd name="connsiteY40" fmla="*/ 82948 h 284934"/>
                <a:gd name="connsiteX41" fmla="*/ 30278 w 633129"/>
                <a:gd name="connsiteY41" fmla="*/ 177293 h 284934"/>
                <a:gd name="connsiteX42" fmla="*/ 53162 w 633129"/>
                <a:gd name="connsiteY42" fmla="*/ 177293 h 284934"/>
                <a:gd name="connsiteX43" fmla="*/ 53162 w 633129"/>
                <a:gd name="connsiteY43" fmla="*/ 284935 h 284934"/>
                <a:gd name="connsiteX44" fmla="*/ 83674 w 633129"/>
                <a:gd name="connsiteY44" fmla="*/ 284935 h 284934"/>
                <a:gd name="connsiteX45" fmla="*/ 83674 w 633129"/>
                <a:gd name="connsiteY45" fmla="*/ 177293 h 284934"/>
                <a:gd name="connsiteX46" fmla="*/ 98931 w 633129"/>
                <a:gd name="connsiteY46" fmla="*/ 177293 h 284934"/>
                <a:gd name="connsiteX47" fmla="*/ 98931 w 633129"/>
                <a:gd name="connsiteY47" fmla="*/ 284935 h 284934"/>
                <a:gd name="connsiteX48" fmla="*/ 129443 w 633129"/>
                <a:gd name="connsiteY48" fmla="*/ 284935 h 284934"/>
                <a:gd name="connsiteX49" fmla="*/ 129443 w 633129"/>
                <a:gd name="connsiteY49" fmla="*/ 177293 h 284934"/>
                <a:gd name="connsiteX50" fmla="*/ 152327 w 633129"/>
                <a:gd name="connsiteY50" fmla="*/ 177293 h 284934"/>
                <a:gd name="connsiteX51" fmla="*/ 129443 w 633129"/>
                <a:gd name="connsiteY51" fmla="*/ 82948 h 284934"/>
                <a:gd name="connsiteX52" fmla="*/ 129443 w 633129"/>
                <a:gd name="connsiteY52" fmla="*/ 37991 h 284934"/>
                <a:gd name="connsiteX53" fmla="*/ 152327 w 633129"/>
                <a:gd name="connsiteY53" fmla="*/ 122839 h 284934"/>
                <a:gd name="connsiteX54" fmla="*/ 166820 w 633129"/>
                <a:gd name="connsiteY54" fmla="*/ 132970 h 284934"/>
                <a:gd name="connsiteX55" fmla="*/ 166820 w 633129"/>
                <a:gd name="connsiteY55" fmla="*/ 132970 h 284934"/>
                <a:gd name="connsiteX56" fmla="*/ 181314 w 633129"/>
                <a:gd name="connsiteY56" fmla="*/ 122839 h 284934"/>
                <a:gd name="connsiteX57" fmla="*/ 205723 w 633129"/>
                <a:gd name="connsiteY57" fmla="*/ 37991 h 284934"/>
                <a:gd name="connsiteX58" fmla="*/ 205723 w 633129"/>
                <a:gd name="connsiteY58" fmla="*/ 139301 h 284934"/>
                <a:gd name="connsiteX59" fmla="*/ 205723 w 633129"/>
                <a:gd name="connsiteY59" fmla="*/ 284935 h 284934"/>
                <a:gd name="connsiteX60" fmla="*/ 236236 w 633129"/>
                <a:gd name="connsiteY60" fmla="*/ 284935 h 284934"/>
                <a:gd name="connsiteX61" fmla="*/ 236236 w 633129"/>
                <a:gd name="connsiteY61" fmla="*/ 139301 h 284934"/>
                <a:gd name="connsiteX62" fmla="*/ 251492 w 633129"/>
                <a:gd name="connsiteY62" fmla="*/ 139301 h 284934"/>
                <a:gd name="connsiteX63" fmla="*/ 251492 w 633129"/>
                <a:gd name="connsiteY63" fmla="*/ 284935 h 284934"/>
                <a:gd name="connsiteX64" fmla="*/ 282004 w 633129"/>
                <a:gd name="connsiteY64" fmla="*/ 284935 h 284934"/>
                <a:gd name="connsiteX65" fmla="*/ 282004 w 633129"/>
                <a:gd name="connsiteY65" fmla="*/ 139301 h 284934"/>
                <a:gd name="connsiteX66" fmla="*/ 282004 w 633129"/>
                <a:gd name="connsiteY66" fmla="*/ 37991 h 284934"/>
                <a:gd name="connsiteX67" fmla="*/ 304888 w 633129"/>
                <a:gd name="connsiteY67" fmla="*/ 122839 h 284934"/>
                <a:gd name="connsiteX68" fmla="*/ 320144 w 633129"/>
                <a:gd name="connsiteY68" fmla="*/ 132970 h 284934"/>
                <a:gd name="connsiteX69" fmla="*/ 320144 w 633129"/>
                <a:gd name="connsiteY69" fmla="*/ 132970 h 284934"/>
                <a:gd name="connsiteX70" fmla="*/ 320144 w 633129"/>
                <a:gd name="connsiteY70" fmla="*/ 132970 h 284934"/>
                <a:gd name="connsiteX71" fmla="*/ 334638 w 633129"/>
                <a:gd name="connsiteY71" fmla="*/ 122839 h 284934"/>
                <a:gd name="connsiteX72" fmla="*/ 358285 w 633129"/>
                <a:gd name="connsiteY72" fmla="*/ 37991 h 284934"/>
                <a:gd name="connsiteX73" fmla="*/ 358285 w 633129"/>
                <a:gd name="connsiteY73" fmla="*/ 83581 h 284934"/>
                <a:gd name="connsiteX74" fmla="*/ 335401 w 633129"/>
                <a:gd name="connsiteY74" fmla="*/ 177293 h 284934"/>
                <a:gd name="connsiteX75" fmla="*/ 358285 w 633129"/>
                <a:gd name="connsiteY75" fmla="*/ 177293 h 284934"/>
                <a:gd name="connsiteX76" fmla="*/ 358285 w 633129"/>
                <a:gd name="connsiteY76" fmla="*/ 284935 h 284934"/>
                <a:gd name="connsiteX77" fmla="*/ 388797 w 633129"/>
                <a:gd name="connsiteY77" fmla="*/ 284935 h 284934"/>
                <a:gd name="connsiteX78" fmla="*/ 388797 w 633129"/>
                <a:gd name="connsiteY78" fmla="*/ 177293 h 284934"/>
                <a:gd name="connsiteX79" fmla="*/ 404053 w 633129"/>
                <a:gd name="connsiteY79" fmla="*/ 177293 h 284934"/>
                <a:gd name="connsiteX80" fmla="*/ 404053 w 633129"/>
                <a:gd name="connsiteY80" fmla="*/ 284935 h 284934"/>
                <a:gd name="connsiteX81" fmla="*/ 434565 w 633129"/>
                <a:gd name="connsiteY81" fmla="*/ 284935 h 284934"/>
                <a:gd name="connsiteX82" fmla="*/ 434565 w 633129"/>
                <a:gd name="connsiteY82" fmla="*/ 177293 h 284934"/>
                <a:gd name="connsiteX83" fmla="*/ 457450 w 633129"/>
                <a:gd name="connsiteY83" fmla="*/ 177293 h 284934"/>
                <a:gd name="connsiteX84" fmla="*/ 434565 w 633129"/>
                <a:gd name="connsiteY84" fmla="*/ 82315 h 284934"/>
                <a:gd name="connsiteX85" fmla="*/ 434565 w 633129"/>
                <a:gd name="connsiteY85" fmla="*/ 37991 h 284934"/>
                <a:gd name="connsiteX86" fmla="*/ 457450 w 633129"/>
                <a:gd name="connsiteY86" fmla="*/ 122839 h 284934"/>
                <a:gd name="connsiteX87" fmla="*/ 472706 w 633129"/>
                <a:gd name="connsiteY87" fmla="*/ 132970 h 284934"/>
                <a:gd name="connsiteX88" fmla="*/ 472706 w 633129"/>
                <a:gd name="connsiteY88" fmla="*/ 132970 h 284934"/>
                <a:gd name="connsiteX89" fmla="*/ 472706 w 633129"/>
                <a:gd name="connsiteY89" fmla="*/ 132970 h 284934"/>
                <a:gd name="connsiteX90" fmla="*/ 472706 w 633129"/>
                <a:gd name="connsiteY90" fmla="*/ 132970 h 284934"/>
                <a:gd name="connsiteX91" fmla="*/ 487962 w 633129"/>
                <a:gd name="connsiteY91" fmla="*/ 122839 h 284934"/>
                <a:gd name="connsiteX92" fmla="*/ 510846 w 633129"/>
                <a:gd name="connsiteY92" fmla="*/ 37991 h 284934"/>
                <a:gd name="connsiteX93" fmla="*/ 510846 w 633129"/>
                <a:gd name="connsiteY93" fmla="*/ 139301 h 284934"/>
                <a:gd name="connsiteX94" fmla="*/ 510846 w 633129"/>
                <a:gd name="connsiteY94" fmla="*/ 284935 h 284934"/>
                <a:gd name="connsiteX95" fmla="*/ 541358 w 633129"/>
                <a:gd name="connsiteY95" fmla="*/ 284935 h 284934"/>
                <a:gd name="connsiteX96" fmla="*/ 541358 w 633129"/>
                <a:gd name="connsiteY96" fmla="*/ 139301 h 284934"/>
                <a:gd name="connsiteX97" fmla="*/ 556614 w 633129"/>
                <a:gd name="connsiteY97" fmla="*/ 139301 h 284934"/>
                <a:gd name="connsiteX98" fmla="*/ 556614 w 633129"/>
                <a:gd name="connsiteY98" fmla="*/ 284935 h 284934"/>
                <a:gd name="connsiteX99" fmla="*/ 587127 w 633129"/>
                <a:gd name="connsiteY99" fmla="*/ 284935 h 284934"/>
                <a:gd name="connsiteX100" fmla="*/ 587127 w 633129"/>
                <a:gd name="connsiteY100" fmla="*/ 139301 h 284934"/>
                <a:gd name="connsiteX101" fmla="*/ 587127 w 633129"/>
                <a:gd name="connsiteY101" fmla="*/ 37991 h 284934"/>
                <a:gd name="connsiteX102" fmla="*/ 610011 w 633129"/>
                <a:gd name="connsiteY102" fmla="*/ 122839 h 284934"/>
                <a:gd name="connsiteX103" fmla="*/ 625267 w 633129"/>
                <a:gd name="connsiteY103" fmla="*/ 132970 h 284934"/>
                <a:gd name="connsiteX104" fmla="*/ 630607 w 633129"/>
                <a:gd name="connsiteY104" fmla="*/ 132336 h 284934"/>
                <a:gd name="connsiteX105" fmla="*/ 639760 w 633129"/>
                <a:gd name="connsiteY105" fmla="*/ 117140 h 2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33129" h="284934">
                  <a:moveTo>
                    <a:pt x="639760" y="117140"/>
                  </a:moveTo>
                  <a:lnTo>
                    <a:pt x="615350" y="24694"/>
                  </a:lnTo>
                  <a:cubicBezTo>
                    <a:pt x="614588" y="22162"/>
                    <a:pt x="613062" y="19629"/>
                    <a:pt x="610011" y="17729"/>
                  </a:cubicBezTo>
                  <a:cubicBezTo>
                    <a:pt x="600857" y="12031"/>
                    <a:pt x="590941" y="6965"/>
                    <a:pt x="579499" y="4432"/>
                  </a:cubicBezTo>
                  <a:cubicBezTo>
                    <a:pt x="569582" y="1900"/>
                    <a:pt x="559666" y="0"/>
                    <a:pt x="548986" y="0"/>
                  </a:cubicBezTo>
                  <a:cubicBezTo>
                    <a:pt x="538307" y="0"/>
                    <a:pt x="527628" y="1266"/>
                    <a:pt x="518474" y="4432"/>
                  </a:cubicBezTo>
                  <a:cubicBezTo>
                    <a:pt x="507032" y="7598"/>
                    <a:pt x="497115" y="12031"/>
                    <a:pt x="487962" y="17729"/>
                  </a:cubicBezTo>
                  <a:cubicBezTo>
                    <a:pt x="484911" y="19629"/>
                    <a:pt x="483385" y="22162"/>
                    <a:pt x="482622" y="24694"/>
                  </a:cubicBezTo>
                  <a:lnTo>
                    <a:pt x="472706" y="62052"/>
                  </a:lnTo>
                  <a:lnTo>
                    <a:pt x="472706" y="62052"/>
                  </a:lnTo>
                  <a:lnTo>
                    <a:pt x="462789" y="24694"/>
                  </a:lnTo>
                  <a:cubicBezTo>
                    <a:pt x="462026" y="22162"/>
                    <a:pt x="460501" y="19629"/>
                    <a:pt x="457450" y="17729"/>
                  </a:cubicBezTo>
                  <a:cubicBezTo>
                    <a:pt x="448296" y="12031"/>
                    <a:pt x="438379" y="6965"/>
                    <a:pt x="426937" y="4432"/>
                  </a:cubicBezTo>
                  <a:cubicBezTo>
                    <a:pt x="417021" y="1900"/>
                    <a:pt x="407104" y="0"/>
                    <a:pt x="396425" y="0"/>
                  </a:cubicBezTo>
                  <a:cubicBezTo>
                    <a:pt x="385746" y="0"/>
                    <a:pt x="375066" y="1266"/>
                    <a:pt x="365913" y="4432"/>
                  </a:cubicBezTo>
                  <a:cubicBezTo>
                    <a:pt x="354471" y="7598"/>
                    <a:pt x="344554" y="12031"/>
                    <a:pt x="335401" y="17729"/>
                  </a:cubicBezTo>
                  <a:cubicBezTo>
                    <a:pt x="332349" y="19629"/>
                    <a:pt x="330824" y="22162"/>
                    <a:pt x="330061" y="24694"/>
                  </a:cubicBezTo>
                  <a:lnTo>
                    <a:pt x="320144" y="61419"/>
                  </a:lnTo>
                  <a:lnTo>
                    <a:pt x="320144" y="62052"/>
                  </a:lnTo>
                  <a:lnTo>
                    <a:pt x="310228" y="24694"/>
                  </a:lnTo>
                  <a:cubicBezTo>
                    <a:pt x="309465" y="22162"/>
                    <a:pt x="307939" y="19629"/>
                    <a:pt x="304888" y="17729"/>
                  </a:cubicBezTo>
                  <a:cubicBezTo>
                    <a:pt x="295735" y="12031"/>
                    <a:pt x="285818" y="6965"/>
                    <a:pt x="274376" y="4432"/>
                  </a:cubicBezTo>
                  <a:cubicBezTo>
                    <a:pt x="264460" y="1900"/>
                    <a:pt x="254543" y="0"/>
                    <a:pt x="243864" y="0"/>
                  </a:cubicBezTo>
                  <a:cubicBezTo>
                    <a:pt x="233184" y="0"/>
                    <a:pt x="222505" y="1266"/>
                    <a:pt x="213352" y="4432"/>
                  </a:cubicBezTo>
                  <a:cubicBezTo>
                    <a:pt x="201909" y="7598"/>
                    <a:pt x="191993" y="12031"/>
                    <a:pt x="182839" y="17729"/>
                  </a:cubicBezTo>
                  <a:cubicBezTo>
                    <a:pt x="179788" y="19629"/>
                    <a:pt x="178262" y="22162"/>
                    <a:pt x="177500" y="24694"/>
                  </a:cubicBezTo>
                  <a:lnTo>
                    <a:pt x="167583" y="61419"/>
                  </a:lnTo>
                  <a:lnTo>
                    <a:pt x="167583" y="61419"/>
                  </a:lnTo>
                  <a:lnTo>
                    <a:pt x="157667" y="24694"/>
                  </a:lnTo>
                  <a:cubicBezTo>
                    <a:pt x="156904" y="22162"/>
                    <a:pt x="155378" y="19629"/>
                    <a:pt x="152327" y="17729"/>
                  </a:cubicBezTo>
                  <a:cubicBezTo>
                    <a:pt x="143173" y="12031"/>
                    <a:pt x="133257" y="6965"/>
                    <a:pt x="121815" y="4432"/>
                  </a:cubicBezTo>
                  <a:cubicBezTo>
                    <a:pt x="111898" y="1900"/>
                    <a:pt x="101982" y="0"/>
                    <a:pt x="91302" y="0"/>
                  </a:cubicBezTo>
                  <a:cubicBezTo>
                    <a:pt x="80623" y="0"/>
                    <a:pt x="69944" y="1266"/>
                    <a:pt x="60790" y="4432"/>
                  </a:cubicBezTo>
                  <a:cubicBezTo>
                    <a:pt x="49348" y="7598"/>
                    <a:pt x="39432" y="12031"/>
                    <a:pt x="30278" y="17729"/>
                  </a:cubicBezTo>
                  <a:cubicBezTo>
                    <a:pt x="27227" y="19629"/>
                    <a:pt x="25701" y="22162"/>
                    <a:pt x="24938" y="24694"/>
                  </a:cubicBezTo>
                  <a:lnTo>
                    <a:pt x="529" y="116507"/>
                  </a:lnTo>
                  <a:cubicBezTo>
                    <a:pt x="-1760" y="123472"/>
                    <a:pt x="3580" y="131070"/>
                    <a:pt x="12733" y="132336"/>
                  </a:cubicBezTo>
                  <a:cubicBezTo>
                    <a:pt x="13496" y="132336"/>
                    <a:pt x="14259" y="132336"/>
                    <a:pt x="15022" y="132336"/>
                  </a:cubicBezTo>
                  <a:cubicBezTo>
                    <a:pt x="21887" y="132336"/>
                    <a:pt x="27990" y="128537"/>
                    <a:pt x="30278" y="122205"/>
                  </a:cubicBezTo>
                  <a:lnTo>
                    <a:pt x="53162" y="37991"/>
                  </a:lnTo>
                  <a:lnTo>
                    <a:pt x="53162" y="82948"/>
                  </a:lnTo>
                  <a:lnTo>
                    <a:pt x="30278" y="177293"/>
                  </a:lnTo>
                  <a:lnTo>
                    <a:pt x="53162" y="177293"/>
                  </a:lnTo>
                  <a:lnTo>
                    <a:pt x="53162" y="284935"/>
                  </a:lnTo>
                  <a:lnTo>
                    <a:pt x="83674" y="284935"/>
                  </a:lnTo>
                  <a:lnTo>
                    <a:pt x="83674" y="177293"/>
                  </a:lnTo>
                  <a:lnTo>
                    <a:pt x="98931" y="177293"/>
                  </a:lnTo>
                  <a:lnTo>
                    <a:pt x="98931" y="284935"/>
                  </a:lnTo>
                  <a:lnTo>
                    <a:pt x="129443" y="284935"/>
                  </a:lnTo>
                  <a:lnTo>
                    <a:pt x="129443" y="177293"/>
                  </a:lnTo>
                  <a:lnTo>
                    <a:pt x="152327" y="177293"/>
                  </a:lnTo>
                  <a:lnTo>
                    <a:pt x="129443" y="82948"/>
                  </a:lnTo>
                  <a:lnTo>
                    <a:pt x="129443" y="37991"/>
                  </a:lnTo>
                  <a:lnTo>
                    <a:pt x="152327" y="122839"/>
                  </a:lnTo>
                  <a:cubicBezTo>
                    <a:pt x="153853" y="128537"/>
                    <a:pt x="159955" y="132970"/>
                    <a:pt x="166820" y="132970"/>
                  </a:cubicBezTo>
                  <a:lnTo>
                    <a:pt x="166820" y="132970"/>
                  </a:lnTo>
                  <a:cubicBezTo>
                    <a:pt x="173686" y="132970"/>
                    <a:pt x="179788" y="129170"/>
                    <a:pt x="181314" y="122839"/>
                  </a:cubicBezTo>
                  <a:lnTo>
                    <a:pt x="205723" y="37991"/>
                  </a:lnTo>
                  <a:lnTo>
                    <a:pt x="205723" y="139301"/>
                  </a:lnTo>
                  <a:lnTo>
                    <a:pt x="205723" y="284935"/>
                  </a:lnTo>
                  <a:lnTo>
                    <a:pt x="236236" y="284935"/>
                  </a:lnTo>
                  <a:lnTo>
                    <a:pt x="236236" y="139301"/>
                  </a:lnTo>
                  <a:lnTo>
                    <a:pt x="251492" y="139301"/>
                  </a:lnTo>
                  <a:lnTo>
                    <a:pt x="251492" y="284935"/>
                  </a:lnTo>
                  <a:lnTo>
                    <a:pt x="282004" y="284935"/>
                  </a:lnTo>
                  <a:lnTo>
                    <a:pt x="282004" y="139301"/>
                  </a:lnTo>
                  <a:lnTo>
                    <a:pt x="282004" y="37991"/>
                  </a:lnTo>
                  <a:lnTo>
                    <a:pt x="304888" y="122839"/>
                  </a:lnTo>
                  <a:cubicBezTo>
                    <a:pt x="306414" y="128537"/>
                    <a:pt x="312516" y="132970"/>
                    <a:pt x="320144" y="132970"/>
                  </a:cubicBezTo>
                  <a:cubicBezTo>
                    <a:pt x="320144" y="132970"/>
                    <a:pt x="320144" y="132970"/>
                    <a:pt x="320144" y="132970"/>
                  </a:cubicBezTo>
                  <a:lnTo>
                    <a:pt x="320144" y="132970"/>
                  </a:lnTo>
                  <a:cubicBezTo>
                    <a:pt x="327010" y="132970"/>
                    <a:pt x="333112" y="129170"/>
                    <a:pt x="334638" y="122839"/>
                  </a:cubicBezTo>
                  <a:lnTo>
                    <a:pt x="358285" y="37991"/>
                  </a:lnTo>
                  <a:lnTo>
                    <a:pt x="358285" y="83581"/>
                  </a:lnTo>
                  <a:lnTo>
                    <a:pt x="335401" y="177293"/>
                  </a:lnTo>
                  <a:lnTo>
                    <a:pt x="358285" y="177293"/>
                  </a:lnTo>
                  <a:lnTo>
                    <a:pt x="358285" y="284935"/>
                  </a:lnTo>
                  <a:lnTo>
                    <a:pt x="388797" y="284935"/>
                  </a:lnTo>
                  <a:lnTo>
                    <a:pt x="388797" y="177293"/>
                  </a:lnTo>
                  <a:lnTo>
                    <a:pt x="404053" y="177293"/>
                  </a:lnTo>
                  <a:lnTo>
                    <a:pt x="404053" y="284935"/>
                  </a:lnTo>
                  <a:lnTo>
                    <a:pt x="434565" y="284935"/>
                  </a:lnTo>
                  <a:lnTo>
                    <a:pt x="434565" y="177293"/>
                  </a:lnTo>
                  <a:lnTo>
                    <a:pt x="457450" y="177293"/>
                  </a:lnTo>
                  <a:lnTo>
                    <a:pt x="434565" y="82315"/>
                  </a:lnTo>
                  <a:lnTo>
                    <a:pt x="434565" y="37991"/>
                  </a:lnTo>
                  <a:lnTo>
                    <a:pt x="457450" y="122839"/>
                  </a:lnTo>
                  <a:cubicBezTo>
                    <a:pt x="458975" y="128537"/>
                    <a:pt x="465078" y="132970"/>
                    <a:pt x="472706" y="132970"/>
                  </a:cubicBezTo>
                  <a:cubicBezTo>
                    <a:pt x="472706" y="132970"/>
                    <a:pt x="472706" y="132970"/>
                    <a:pt x="472706" y="132970"/>
                  </a:cubicBezTo>
                  <a:lnTo>
                    <a:pt x="472706" y="132970"/>
                  </a:lnTo>
                  <a:cubicBezTo>
                    <a:pt x="472706" y="132970"/>
                    <a:pt x="472706" y="132970"/>
                    <a:pt x="472706" y="132970"/>
                  </a:cubicBezTo>
                  <a:cubicBezTo>
                    <a:pt x="479571" y="132970"/>
                    <a:pt x="485673" y="129170"/>
                    <a:pt x="487962" y="122839"/>
                  </a:cubicBezTo>
                  <a:lnTo>
                    <a:pt x="510846" y="37991"/>
                  </a:lnTo>
                  <a:lnTo>
                    <a:pt x="510846" y="139301"/>
                  </a:lnTo>
                  <a:lnTo>
                    <a:pt x="510846" y="284935"/>
                  </a:lnTo>
                  <a:lnTo>
                    <a:pt x="541358" y="284935"/>
                  </a:lnTo>
                  <a:lnTo>
                    <a:pt x="541358" y="139301"/>
                  </a:lnTo>
                  <a:lnTo>
                    <a:pt x="556614" y="139301"/>
                  </a:lnTo>
                  <a:lnTo>
                    <a:pt x="556614" y="284935"/>
                  </a:lnTo>
                  <a:lnTo>
                    <a:pt x="587127" y="284935"/>
                  </a:lnTo>
                  <a:lnTo>
                    <a:pt x="587127" y="139301"/>
                  </a:lnTo>
                  <a:lnTo>
                    <a:pt x="587127" y="37991"/>
                  </a:lnTo>
                  <a:lnTo>
                    <a:pt x="610011" y="122839"/>
                  </a:lnTo>
                  <a:cubicBezTo>
                    <a:pt x="611536" y="128537"/>
                    <a:pt x="617639" y="132970"/>
                    <a:pt x="625267" y="132970"/>
                  </a:cubicBezTo>
                  <a:cubicBezTo>
                    <a:pt x="626792" y="132970"/>
                    <a:pt x="629081" y="132970"/>
                    <a:pt x="630607" y="132336"/>
                  </a:cubicBezTo>
                  <a:cubicBezTo>
                    <a:pt x="637472" y="129804"/>
                    <a:pt x="641286" y="123472"/>
                    <a:pt x="639760" y="117140"/>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403" name="Graphic 214" descr="Paper">
            <a:extLst>
              <a:ext uri="{FF2B5EF4-FFF2-40B4-BE49-F238E27FC236}">
                <a16:creationId xmlns:a16="http://schemas.microsoft.com/office/drawing/2014/main" id="{3F84E1FD-7513-4353-9324-E918833CF96A}"/>
              </a:ext>
            </a:extLst>
          </p:cNvPr>
          <p:cNvSpPr/>
          <p:nvPr/>
        </p:nvSpPr>
        <p:spPr>
          <a:xfrm>
            <a:off x="7456943" y="4081748"/>
            <a:ext cx="269512" cy="288665"/>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75" name="Flowchart: Magnetic Disk 474">
            <a:extLst>
              <a:ext uri="{FF2B5EF4-FFF2-40B4-BE49-F238E27FC236}">
                <a16:creationId xmlns:a16="http://schemas.microsoft.com/office/drawing/2014/main" id="{04E2C40A-9784-4D97-8D93-E16D9D7CB22F}"/>
              </a:ext>
            </a:extLst>
          </p:cNvPr>
          <p:cNvSpPr/>
          <p:nvPr/>
        </p:nvSpPr>
        <p:spPr bwMode="auto">
          <a:xfrm>
            <a:off x="10286713" y="2634943"/>
            <a:ext cx="641496" cy="359893"/>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MDM</a:t>
            </a:r>
          </a:p>
        </p:txBody>
      </p:sp>
      <p:grpSp>
        <p:nvGrpSpPr>
          <p:cNvPr id="916" name="Group 915">
            <a:extLst>
              <a:ext uri="{FF2B5EF4-FFF2-40B4-BE49-F238E27FC236}">
                <a16:creationId xmlns:a16="http://schemas.microsoft.com/office/drawing/2014/main" id="{FD702F29-685F-428D-B9F4-2E8F4F3B62BB}"/>
              </a:ext>
            </a:extLst>
          </p:cNvPr>
          <p:cNvGrpSpPr/>
          <p:nvPr/>
        </p:nvGrpSpPr>
        <p:grpSpPr>
          <a:xfrm>
            <a:off x="425357" y="531441"/>
            <a:ext cx="5480992" cy="3909905"/>
            <a:chOff x="319407" y="449978"/>
            <a:chExt cx="4110744" cy="2838560"/>
          </a:xfrm>
        </p:grpSpPr>
        <p:sp>
          <p:nvSpPr>
            <p:cNvPr id="697" name="Flowchart: Magnetic Disk 696">
              <a:extLst>
                <a:ext uri="{FF2B5EF4-FFF2-40B4-BE49-F238E27FC236}">
                  <a16:creationId xmlns:a16="http://schemas.microsoft.com/office/drawing/2014/main" id="{7639DE3B-A535-4D07-9D3D-035A18C0A1E9}"/>
                </a:ext>
              </a:extLst>
            </p:cNvPr>
            <p:cNvSpPr/>
            <p:nvPr/>
          </p:nvSpPr>
          <p:spPr bwMode="auto">
            <a:xfrm>
              <a:off x="628102" y="1462289"/>
              <a:ext cx="647170" cy="337669"/>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err="1">
                  <a:solidFill>
                    <a:srgbClr val="FFFFFF"/>
                  </a:solidFill>
                  <a:latin typeface="Arial"/>
                  <a:ea typeface="ＭＳ Ｐゴシック"/>
                  <a:cs typeface="Arial"/>
                </a:rPr>
                <a:t>MyHub</a:t>
              </a:r>
              <a:endParaRPr lang="en-GB" sz="900" b="1" kern="0">
                <a:solidFill>
                  <a:srgbClr val="FFFFFF"/>
                </a:solidFill>
                <a:latin typeface="Arial"/>
                <a:ea typeface="ＭＳ Ｐゴシック"/>
                <a:cs typeface="Arial"/>
              </a:endParaRPr>
            </a:p>
          </p:txBody>
        </p:sp>
        <p:sp>
          <p:nvSpPr>
            <p:cNvPr id="698" name="Flowchart: Magnetic Disk 697">
              <a:extLst>
                <a:ext uri="{FF2B5EF4-FFF2-40B4-BE49-F238E27FC236}">
                  <a16:creationId xmlns:a16="http://schemas.microsoft.com/office/drawing/2014/main" id="{1EB2970E-7714-47B4-ABFF-9A6119FD7116}"/>
                </a:ext>
              </a:extLst>
            </p:cNvPr>
            <p:cNvSpPr/>
            <p:nvPr/>
          </p:nvSpPr>
          <p:spPr bwMode="auto">
            <a:xfrm>
              <a:off x="3091279" y="1407931"/>
              <a:ext cx="583765" cy="337669"/>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SAP ECC (US)</a:t>
              </a:r>
            </a:p>
          </p:txBody>
        </p:sp>
        <p:sp>
          <p:nvSpPr>
            <p:cNvPr id="699" name="TextBox 698">
              <a:extLst>
                <a:ext uri="{FF2B5EF4-FFF2-40B4-BE49-F238E27FC236}">
                  <a16:creationId xmlns:a16="http://schemas.microsoft.com/office/drawing/2014/main" id="{35688286-F93A-4A5D-B402-AF0EA8492604}"/>
                </a:ext>
              </a:extLst>
            </p:cNvPr>
            <p:cNvSpPr txBox="1"/>
            <p:nvPr/>
          </p:nvSpPr>
          <p:spPr bwMode="auto">
            <a:xfrm>
              <a:off x="373715" y="1015583"/>
              <a:ext cx="1249573" cy="268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1219170" fontAlgn="base">
                <a:spcBef>
                  <a:spcPct val="0"/>
                </a:spcBef>
                <a:spcAft>
                  <a:spcPts val="600"/>
                </a:spcAft>
                <a:buClr>
                  <a:srgbClr val="55555A"/>
                </a:buClr>
              </a:pPr>
              <a:r>
                <a:rPr lang="en-GB" sz="1200" b="1" kern="0">
                  <a:solidFill>
                    <a:srgbClr val="00148C"/>
                  </a:solidFill>
                  <a:latin typeface="Arial"/>
                  <a:ea typeface="ＭＳ Ｐゴシック"/>
                </a:rPr>
                <a:t>Employees &amp; US Contingent Workers</a:t>
              </a:r>
              <a:endParaRPr lang="en-GB" sz="1200" kern="0">
                <a:solidFill>
                  <a:srgbClr val="55555A"/>
                </a:solidFill>
                <a:latin typeface="Arial"/>
                <a:ea typeface="ＭＳ Ｐゴシック"/>
              </a:endParaRPr>
            </a:p>
          </p:txBody>
        </p:sp>
        <p:sp>
          <p:nvSpPr>
            <p:cNvPr id="700" name="TextBox 699">
              <a:extLst>
                <a:ext uri="{FF2B5EF4-FFF2-40B4-BE49-F238E27FC236}">
                  <a16:creationId xmlns:a16="http://schemas.microsoft.com/office/drawing/2014/main" id="{5D54B370-8095-4158-8FD4-B03FC391EF9F}"/>
                </a:ext>
              </a:extLst>
            </p:cNvPr>
            <p:cNvSpPr txBox="1"/>
            <p:nvPr/>
          </p:nvSpPr>
          <p:spPr bwMode="auto">
            <a:xfrm>
              <a:off x="1808952" y="1017444"/>
              <a:ext cx="1059489" cy="268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a:spcAft>
                  <a:spcPts val="450"/>
                </a:spcAft>
                <a:defRPr sz="900"/>
              </a:lvl1pPr>
            </a:lstStyle>
            <a:p>
              <a:pPr defTabSz="1219170" fontAlgn="base">
                <a:spcBef>
                  <a:spcPct val="0"/>
                </a:spcBef>
                <a:spcAft>
                  <a:spcPts val="600"/>
                </a:spcAft>
                <a:buClr>
                  <a:srgbClr val="55555A"/>
                </a:buClr>
              </a:pPr>
              <a:r>
                <a:rPr lang="en-GB" sz="1200" b="1" kern="0">
                  <a:solidFill>
                    <a:srgbClr val="00148C"/>
                  </a:solidFill>
                  <a:latin typeface="Arial"/>
                  <a:ea typeface="ＭＳ Ｐゴシック"/>
                </a:rPr>
                <a:t>UK Contingent Workers </a:t>
              </a:r>
            </a:p>
          </p:txBody>
        </p:sp>
        <p:sp>
          <p:nvSpPr>
            <p:cNvPr id="701" name="TextBox 700">
              <a:extLst>
                <a:ext uri="{FF2B5EF4-FFF2-40B4-BE49-F238E27FC236}">
                  <a16:creationId xmlns:a16="http://schemas.microsoft.com/office/drawing/2014/main" id="{156488E3-A38B-4325-AD52-824A9482BB9D}"/>
                </a:ext>
              </a:extLst>
            </p:cNvPr>
            <p:cNvSpPr txBox="1"/>
            <p:nvPr/>
          </p:nvSpPr>
          <p:spPr bwMode="auto">
            <a:xfrm>
              <a:off x="3469835" y="1060735"/>
              <a:ext cx="313788" cy="13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1219170" fontAlgn="base">
                <a:spcBef>
                  <a:spcPct val="0"/>
                </a:spcBef>
                <a:spcAft>
                  <a:spcPts val="600"/>
                </a:spcAft>
                <a:buClr>
                  <a:srgbClr val="55555A"/>
                </a:buClr>
              </a:pPr>
              <a:r>
                <a:rPr lang="en-GB" sz="1200" b="1" kern="0">
                  <a:solidFill>
                    <a:srgbClr val="00148C"/>
                  </a:solidFill>
                  <a:latin typeface="Arial"/>
                  <a:ea typeface="ＭＳ Ｐゴシック"/>
                </a:rPr>
                <a:t>MSPs</a:t>
              </a:r>
              <a:endParaRPr lang="en-GB" sz="1200" kern="0">
                <a:solidFill>
                  <a:srgbClr val="55555A"/>
                </a:solidFill>
                <a:latin typeface="Arial"/>
                <a:ea typeface="ＭＳ Ｐゴシック"/>
              </a:endParaRPr>
            </a:p>
          </p:txBody>
        </p:sp>
        <p:cxnSp>
          <p:nvCxnSpPr>
            <p:cNvPr id="702" name="Straight Connector 701">
              <a:extLst>
                <a:ext uri="{FF2B5EF4-FFF2-40B4-BE49-F238E27FC236}">
                  <a16:creationId xmlns:a16="http://schemas.microsoft.com/office/drawing/2014/main" id="{09D82D54-C2FA-4AAA-87FF-F62190DC5EFE}"/>
                </a:ext>
              </a:extLst>
            </p:cNvPr>
            <p:cNvCxnSpPr>
              <a:cxnSpLocks/>
            </p:cNvCxnSpPr>
            <p:nvPr/>
          </p:nvCxnSpPr>
          <p:spPr bwMode="auto">
            <a:xfrm>
              <a:off x="1208438" y="1783424"/>
              <a:ext cx="203770" cy="816239"/>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5" name="Straight Connector 704">
              <a:extLst>
                <a:ext uri="{FF2B5EF4-FFF2-40B4-BE49-F238E27FC236}">
                  <a16:creationId xmlns:a16="http://schemas.microsoft.com/office/drawing/2014/main" id="{92145E06-B97D-47AB-AA6C-EE5CE22DE384}"/>
                </a:ext>
              </a:extLst>
            </p:cNvPr>
            <p:cNvCxnSpPr>
              <a:cxnSpLocks/>
              <a:stCxn id="697" idx="3"/>
              <a:endCxn id="831" idx="9"/>
            </p:cNvCxnSpPr>
            <p:nvPr/>
          </p:nvCxnSpPr>
          <p:spPr bwMode="auto">
            <a:xfrm flipH="1">
              <a:off x="906947" y="1799958"/>
              <a:ext cx="44740" cy="296636"/>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8" name="Straight Connector 707">
              <a:extLst>
                <a:ext uri="{FF2B5EF4-FFF2-40B4-BE49-F238E27FC236}">
                  <a16:creationId xmlns:a16="http://schemas.microsoft.com/office/drawing/2014/main" id="{CB212688-A35A-40FC-B870-B00B1711FFDA}"/>
                </a:ext>
              </a:extLst>
            </p:cNvPr>
            <p:cNvCxnSpPr>
              <a:cxnSpLocks/>
              <a:stCxn id="767" idx="5"/>
            </p:cNvCxnSpPr>
            <p:nvPr/>
          </p:nvCxnSpPr>
          <p:spPr bwMode="auto">
            <a:xfrm>
              <a:off x="3655483" y="2167140"/>
              <a:ext cx="67775" cy="531597"/>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2" name="TextBox 711">
              <a:extLst>
                <a:ext uri="{FF2B5EF4-FFF2-40B4-BE49-F238E27FC236}">
                  <a16:creationId xmlns:a16="http://schemas.microsoft.com/office/drawing/2014/main" id="{38ABDB9E-8C34-4AE4-9A59-0DA706B42FA0}"/>
                </a:ext>
              </a:extLst>
            </p:cNvPr>
            <p:cNvSpPr txBox="1"/>
            <p:nvPr/>
          </p:nvSpPr>
          <p:spPr bwMode="auto">
            <a:xfrm>
              <a:off x="355475" y="449978"/>
              <a:ext cx="851195" cy="15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1219170" fontAlgn="base">
                <a:spcBef>
                  <a:spcPct val="0"/>
                </a:spcBef>
                <a:spcAft>
                  <a:spcPts val="600"/>
                </a:spcAft>
                <a:buClr>
                  <a:srgbClr val="55555A"/>
                </a:buClr>
              </a:pPr>
              <a:r>
                <a:rPr lang="en-GB" sz="1400" b="1" kern="0">
                  <a:solidFill>
                    <a:srgbClr val="00148C"/>
                  </a:solidFill>
                  <a:latin typeface="Arial"/>
                  <a:ea typeface="ＭＳ Ｐゴシック"/>
                </a:rPr>
                <a:t>Current State</a:t>
              </a:r>
            </a:p>
          </p:txBody>
        </p:sp>
        <p:sp>
          <p:nvSpPr>
            <p:cNvPr id="713" name="Rectangle 712">
              <a:extLst>
                <a:ext uri="{FF2B5EF4-FFF2-40B4-BE49-F238E27FC236}">
                  <a16:creationId xmlns:a16="http://schemas.microsoft.com/office/drawing/2014/main" id="{EFA146D9-8003-4F94-BD89-553BDB39028F}"/>
                </a:ext>
              </a:extLst>
            </p:cNvPr>
            <p:cNvSpPr/>
            <p:nvPr/>
          </p:nvSpPr>
          <p:spPr bwMode="auto">
            <a:xfrm>
              <a:off x="319407" y="630410"/>
              <a:ext cx="4110744" cy="2658128"/>
            </a:xfrm>
            <a:prstGeom prst="rect">
              <a:avLst/>
            </a:prstGeom>
            <a:no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defTabSz="1219170" fontAlgn="base">
                <a:spcBef>
                  <a:spcPct val="0"/>
                </a:spcBef>
                <a:spcAft>
                  <a:spcPts val="451"/>
                </a:spcAft>
                <a:buClr>
                  <a:srgbClr val="55555A"/>
                </a:buClr>
              </a:pPr>
              <a:endParaRPr lang="en-GB" b="1" kern="0" err="1">
                <a:solidFill>
                  <a:srgbClr val="FFFFFF"/>
                </a:solidFill>
                <a:latin typeface="Arial"/>
                <a:ea typeface="ＭＳ Ｐゴシック"/>
                <a:cs typeface="Arial"/>
              </a:endParaRPr>
            </a:p>
          </p:txBody>
        </p:sp>
        <p:cxnSp>
          <p:nvCxnSpPr>
            <p:cNvPr id="714" name="Straight Connector 197">
              <a:extLst>
                <a:ext uri="{FF2B5EF4-FFF2-40B4-BE49-F238E27FC236}">
                  <a16:creationId xmlns:a16="http://schemas.microsoft.com/office/drawing/2014/main" id="{FC84DFA5-CDC8-4269-99B4-5AD85460DBCA}"/>
                </a:ext>
              </a:extLst>
            </p:cNvPr>
            <p:cNvCxnSpPr>
              <a:cxnSpLocks/>
              <a:stCxn id="748" idx="13"/>
            </p:cNvCxnSpPr>
            <p:nvPr/>
          </p:nvCxnSpPr>
          <p:spPr bwMode="auto">
            <a:xfrm flipH="1">
              <a:off x="2111433" y="2237319"/>
              <a:ext cx="60294" cy="15969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6" name="Flowchart: Magnetic Disk 715">
              <a:extLst>
                <a:ext uri="{FF2B5EF4-FFF2-40B4-BE49-F238E27FC236}">
                  <a16:creationId xmlns:a16="http://schemas.microsoft.com/office/drawing/2014/main" id="{09830C20-A455-4509-8AAE-71160E32DB78}"/>
                </a:ext>
              </a:extLst>
            </p:cNvPr>
            <p:cNvSpPr/>
            <p:nvPr/>
          </p:nvSpPr>
          <p:spPr bwMode="auto">
            <a:xfrm>
              <a:off x="3704790" y="1405002"/>
              <a:ext cx="550952" cy="351188"/>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ACG (UK)</a:t>
              </a:r>
            </a:p>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pic>
          <p:nvPicPr>
            <p:cNvPr id="717" name="Picture 716">
              <a:extLst>
                <a:ext uri="{FF2B5EF4-FFF2-40B4-BE49-F238E27FC236}">
                  <a16:creationId xmlns:a16="http://schemas.microsoft.com/office/drawing/2014/main" id="{194E4430-CE9E-4CAA-873C-EB3D2785F168}"/>
                </a:ext>
              </a:extLst>
            </p:cNvPr>
            <p:cNvPicPr>
              <a:picLocks noChangeAspect="1"/>
            </p:cNvPicPr>
            <p:nvPr/>
          </p:nvPicPr>
          <p:blipFill>
            <a:blip r:embed="rId3"/>
            <a:stretch>
              <a:fillRect/>
            </a:stretch>
          </p:blipFill>
          <p:spPr>
            <a:xfrm>
              <a:off x="1945314" y="1498221"/>
              <a:ext cx="285062" cy="263714"/>
            </a:xfrm>
            <a:prstGeom prst="rect">
              <a:avLst/>
            </a:prstGeom>
          </p:spPr>
        </p:pic>
        <p:cxnSp>
          <p:nvCxnSpPr>
            <p:cNvPr id="718" name="Straight Connector 717">
              <a:extLst>
                <a:ext uri="{FF2B5EF4-FFF2-40B4-BE49-F238E27FC236}">
                  <a16:creationId xmlns:a16="http://schemas.microsoft.com/office/drawing/2014/main" id="{E14B4E8A-B4A7-4D4B-82B3-E54BD38A26DB}"/>
                </a:ext>
              </a:extLst>
            </p:cNvPr>
            <p:cNvCxnSpPr>
              <a:cxnSpLocks/>
              <a:stCxn id="697" idx="4"/>
              <a:endCxn id="717" idx="1"/>
            </p:cNvCxnSpPr>
            <p:nvPr/>
          </p:nvCxnSpPr>
          <p:spPr bwMode="auto">
            <a:xfrm flipV="1">
              <a:off x="1275272" y="1630078"/>
              <a:ext cx="670042" cy="1046"/>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9" name="Flowchart: Magnetic Disk 718">
              <a:extLst>
                <a:ext uri="{FF2B5EF4-FFF2-40B4-BE49-F238E27FC236}">
                  <a16:creationId xmlns:a16="http://schemas.microsoft.com/office/drawing/2014/main" id="{AF318177-7ADE-4914-8A18-80282532DC0A}"/>
                </a:ext>
              </a:extLst>
            </p:cNvPr>
            <p:cNvSpPr/>
            <p:nvPr/>
          </p:nvSpPr>
          <p:spPr bwMode="auto">
            <a:xfrm>
              <a:off x="2260372" y="1406781"/>
              <a:ext cx="532205" cy="351188"/>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SAP ECC (UK)</a:t>
              </a:r>
            </a:p>
          </p:txBody>
        </p:sp>
        <p:cxnSp>
          <p:nvCxnSpPr>
            <p:cNvPr id="720" name="Straight Connector 719">
              <a:extLst>
                <a:ext uri="{FF2B5EF4-FFF2-40B4-BE49-F238E27FC236}">
                  <a16:creationId xmlns:a16="http://schemas.microsoft.com/office/drawing/2014/main" id="{A798AD3B-0D5D-41D6-A95D-1F549F38FA8D}"/>
                </a:ext>
              </a:extLst>
            </p:cNvPr>
            <p:cNvCxnSpPr>
              <a:cxnSpLocks/>
              <a:stCxn id="784" idx="12"/>
            </p:cNvCxnSpPr>
            <p:nvPr/>
          </p:nvCxnSpPr>
          <p:spPr bwMode="auto">
            <a:xfrm flipH="1" flipV="1">
              <a:off x="2712697" y="1721480"/>
              <a:ext cx="38574" cy="295827"/>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3" name="Straight Connector 722">
              <a:extLst>
                <a:ext uri="{FF2B5EF4-FFF2-40B4-BE49-F238E27FC236}">
                  <a16:creationId xmlns:a16="http://schemas.microsoft.com/office/drawing/2014/main" id="{E6069A27-2C63-4BB4-BC6D-CF78C0ACE490}"/>
                </a:ext>
              </a:extLst>
            </p:cNvPr>
            <p:cNvCxnSpPr>
              <a:cxnSpLocks/>
            </p:cNvCxnSpPr>
            <p:nvPr/>
          </p:nvCxnSpPr>
          <p:spPr bwMode="auto">
            <a:xfrm flipH="1">
              <a:off x="2292358" y="1760943"/>
              <a:ext cx="93244" cy="31670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4" name="Straight Connector 723">
              <a:extLst>
                <a:ext uri="{FF2B5EF4-FFF2-40B4-BE49-F238E27FC236}">
                  <a16:creationId xmlns:a16="http://schemas.microsoft.com/office/drawing/2014/main" id="{FEF400AC-0005-4A58-8E5E-6BEB5592753D}"/>
                </a:ext>
              </a:extLst>
            </p:cNvPr>
            <p:cNvCxnSpPr>
              <a:cxnSpLocks/>
              <a:stCxn id="716" idx="3"/>
            </p:cNvCxnSpPr>
            <p:nvPr/>
          </p:nvCxnSpPr>
          <p:spPr bwMode="auto">
            <a:xfrm flipH="1">
              <a:off x="3644073" y="1756190"/>
              <a:ext cx="336193" cy="291899"/>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5" name="Straight Connector 724">
              <a:extLst>
                <a:ext uri="{FF2B5EF4-FFF2-40B4-BE49-F238E27FC236}">
                  <a16:creationId xmlns:a16="http://schemas.microsoft.com/office/drawing/2014/main" id="{FF7DB352-CCFD-41BE-83E1-ABE3A6122732}"/>
                </a:ext>
              </a:extLst>
            </p:cNvPr>
            <p:cNvCxnSpPr>
              <a:cxnSpLocks/>
              <a:stCxn id="698" idx="3"/>
              <a:endCxn id="767" idx="1"/>
            </p:cNvCxnSpPr>
            <p:nvPr/>
          </p:nvCxnSpPr>
          <p:spPr bwMode="auto">
            <a:xfrm>
              <a:off x="3383162" y="1745600"/>
              <a:ext cx="109309" cy="237515"/>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6" name="Straight Connector 725">
              <a:extLst>
                <a:ext uri="{FF2B5EF4-FFF2-40B4-BE49-F238E27FC236}">
                  <a16:creationId xmlns:a16="http://schemas.microsoft.com/office/drawing/2014/main" id="{79035ED4-61C7-4273-A0B6-E4A557B1968D}"/>
                </a:ext>
              </a:extLst>
            </p:cNvPr>
            <p:cNvCxnSpPr>
              <a:cxnSpLocks/>
              <a:stCxn id="717" idx="2"/>
              <a:endCxn id="748" idx="2"/>
            </p:cNvCxnSpPr>
            <p:nvPr/>
          </p:nvCxnSpPr>
          <p:spPr bwMode="auto">
            <a:xfrm>
              <a:off x="2087845" y="1761935"/>
              <a:ext cx="184950" cy="275122"/>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7" name="Straight Connector 726">
              <a:extLst>
                <a:ext uri="{FF2B5EF4-FFF2-40B4-BE49-F238E27FC236}">
                  <a16:creationId xmlns:a16="http://schemas.microsoft.com/office/drawing/2014/main" id="{07764463-C0A3-4AD0-9661-43CCE0C59EF8}"/>
                </a:ext>
              </a:extLst>
            </p:cNvPr>
            <p:cNvCxnSpPr>
              <a:cxnSpLocks/>
              <a:endCxn id="859" idx="13"/>
            </p:cNvCxnSpPr>
            <p:nvPr/>
          </p:nvCxnSpPr>
          <p:spPr bwMode="auto">
            <a:xfrm flipV="1">
              <a:off x="2887218" y="2230879"/>
              <a:ext cx="217275" cy="473326"/>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28" name="Graphic 201" descr="Group">
              <a:extLst>
                <a:ext uri="{FF2B5EF4-FFF2-40B4-BE49-F238E27FC236}">
                  <a16:creationId xmlns:a16="http://schemas.microsoft.com/office/drawing/2014/main" id="{0C98CD93-75F4-428C-A015-39ED6257208F}"/>
                </a:ext>
              </a:extLst>
            </p:cNvPr>
            <p:cNvGrpSpPr/>
            <p:nvPr/>
          </p:nvGrpSpPr>
          <p:grpSpPr>
            <a:xfrm>
              <a:off x="650626" y="667201"/>
              <a:ext cx="602017" cy="334647"/>
              <a:chOff x="4920366" y="573715"/>
              <a:chExt cx="602017" cy="334647"/>
            </a:xfrm>
          </p:grpSpPr>
          <p:sp>
            <p:nvSpPr>
              <p:cNvPr id="729" name="Freeform: Shape 728">
                <a:extLst>
                  <a:ext uri="{FF2B5EF4-FFF2-40B4-BE49-F238E27FC236}">
                    <a16:creationId xmlns:a16="http://schemas.microsoft.com/office/drawing/2014/main" id="{597777DA-BCFC-4E20-A3C7-A19FC5B3B864}"/>
                  </a:ext>
                </a:extLst>
              </p:cNvPr>
              <p:cNvSpPr/>
              <p:nvPr/>
            </p:nvSpPr>
            <p:spPr>
              <a:xfrm>
                <a:off x="5406109"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0" name="Freeform: Shape 729">
                <a:extLst>
                  <a:ext uri="{FF2B5EF4-FFF2-40B4-BE49-F238E27FC236}">
                    <a16:creationId xmlns:a16="http://schemas.microsoft.com/office/drawing/2014/main" id="{B8A3E0F1-E65A-46FD-A28F-5FF9C264DFE3}"/>
                  </a:ext>
                </a:extLst>
              </p:cNvPr>
              <p:cNvSpPr/>
              <p:nvPr/>
            </p:nvSpPr>
            <p:spPr>
              <a:xfrm>
                <a:off x="4970916"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1" name="Freeform: Shape 730">
                <a:extLst>
                  <a:ext uri="{FF2B5EF4-FFF2-40B4-BE49-F238E27FC236}">
                    <a16:creationId xmlns:a16="http://schemas.microsoft.com/office/drawing/2014/main" id="{152C05F2-6E73-4902-8CB0-91B0C061657F}"/>
                  </a:ext>
                </a:extLst>
              </p:cNvPr>
              <p:cNvSpPr/>
              <p:nvPr/>
            </p:nvSpPr>
            <p:spPr>
              <a:xfrm>
                <a:off x="5261045"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2" name="Freeform: Shape 731">
                <a:extLst>
                  <a:ext uri="{FF2B5EF4-FFF2-40B4-BE49-F238E27FC236}">
                    <a16:creationId xmlns:a16="http://schemas.microsoft.com/office/drawing/2014/main" id="{5544692F-C553-4A47-9CDC-DB5A0B6C1704}"/>
                  </a:ext>
                </a:extLst>
              </p:cNvPr>
              <p:cNvSpPr/>
              <p:nvPr/>
            </p:nvSpPr>
            <p:spPr>
              <a:xfrm>
                <a:off x="5115980"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3" name="Freeform: Shape 732">
                <a:extLst>
                  <a:ext uri="{FF2B5EF4-FFF2-40B4-BE49-F238E27FC236}">
                    <a16:creationId xmlns:a16="http://schemas.microsoft.com/office/drawing/2014/main" id="{5BE64376-ED3C-40EC-A8D3-DCFF11240D58}"/>
                  </a:ext>
                </a:extLst>
              </p:cNvPr>
              <p:cNvSpPr/>
              <p:nvPr/>
            </p:nvSpPr>
            <p:spPr>
              <a:xfrm>
                <a:off x="4920366" y="639449"/>
                <a:ext cx="602017" cy="268913"/>
              </a:xfrm>
              <a:custGeom>
                <a:avLst/>
                <a:gdLst>
                  <a:gd name="connsiteX0" fmla="*/ 608322 w 602017"/>
                  <a:gd name="connsiteY0" fmla="*/ 110553 h 268912"/>
                  <a:gd name="connsiteX1" fmla="*/ 585112 w 602017"/>
                  <a:gd name="connsiteY1" fmla="*/ 23306 h 268912"/>
                  <a:gd name="connsiteX2" fmla="*/ 580035 w 602017"/>
                  <a:gd name="connsiteY2" fmla="*/ 16732 h 268912"/>
                  <a:gd name="connsiteX3" fmla="*/ 551022 w 602017"/>
                  <a:gd name="connsiteY3" fmla="*/ 4183 h 268912"/>
                  <a:gd name="connsiteX4" fmla="*/ 522009 w 602017"/>
                  <a:gd name="connsiteY4" fmla="*/ 0 h 268912"/>
                  <a:gd name="connsiteX5" fmla="*/ 492996 w 602017"/>
                  <a:gd name="connsiteY5" fmla="*/ 4183 h 268912"/>
                  <a:gd name="connsiteX6" fmla="*/ 463983 w 602017"/>
                  <a:gd name="connsiteY6" fmla="*/ 16732 h 268912"/>
                  <a:gd name="connsiteX7" fmla="*/ 458906 w 602017"/>
                  <a:gd name="connsiteY7" fmla="*/ 23306 h 268912"/>
                  <a:gd name="connsiteX8" fmla="*/ 449477 w 602017"/>
                  <a:gd name="connsiteY8" fmla="*/ 58563 h 268912"/>
                  <a:gd name="connsiteX9" fmla="*/ 449477 w 602017"/>
                  <a:gd name="connsiteY9" fmla="*/ 58563 h 268912"/>
                  <a:gd name="connsiteX10" fmla="*/ 440048 w 602017"/>
                  <a:gd name="connsiteY10" fmla="*/ 23306 h 268912"/>
                  <a:gd name="connsiteX11" fmla="*/ 434970 w 602017"/>
                  <a:gd name="connsiteY11" fmla="*/ 16732 h 268912"/>
                  <a:gd name="connsiteX12" fmla="*/ 405958 w 602017"/>
                  <a:gd name="connsiteY12" fmla="*/ 4183 h 268912"/>
                  <a:gd name="connsiteX13" fmla="*/ 376945 w 602017"/>
                  <a:gd name="connsiteY13" fmla="*/ 0 h 268912"/>
                  <a:gd name="connsiteX14" fmla="*/ 347932 w 602017"/>
                  <a:gd name="connsiteY14" fmla="*/ 4183 h 268912"/>
                  <a:gd name="connsiteX15" fmla="*/ 318919 w 602017"/>
                  <a:gd name="connsiteY15" fmla="*/ 16732 h 268912"/>
                  <a:gd name="connsiteX16" fmla="*/ 313842 w 602017"/>
                  <a:gd name="connsiteY16" fmla="*/ 23306 h 268912"/>
                  <a:gd name="connsiteX17" fmla="*/ 304412 w 602017"/>
                  <a:gd name="connsiteY17" fmla="*/ 57966 h 268912"/>
                  <a:gd name="connsiteX18" fmla="*/ 304412 w 602017"/>
                  <a:gd name="connsiteY18" fmla="*/ 58563 h 268912"/>
                  <a:gd name="connsiteX19" fmla="*/ 294983 w 602017"/>
                  <a:gd name="connsiteY19" fmla="*/ 23306 h 268912"/>
                  <a:gd name="connsiteX20" fmla="*/ 289906 w 602017"/>
                  <a:gd name="connsiteY20" fmla="*/ 16732 h 268912"/>
                  <a:gd name="connsiteX21" fmla="*/ 260893 w 602017"/>
                  <a:gd name="connsiteY21" fmla="*/ 4183 h 268912"/>
                  <a:gd name="connsiteX22" fmla="*/ 231880 w 602017"/>
                  <a:gd name="connsiteY22" fmla="*/ 0 h 268912"/>
                  <a:gd name="connsiteX23" fmla="*/ 202867 w 602017"/>
                  <a:gd name="connsiteY23" fmla="*/ 4183 h 268912"/>
                  <a:gd name="connsiteX24" fmla="*/ 173855 w 602017"/>
                  <a:gd name="connsiteY24" fmla="*/ 16732 h 268912"/>
                  <a:gd name="connsiteX25" fmla="*/ 168777 w 602017"/>
                  <a:gd name="connsiteY25" fmla="*/ 23306 h 268912"/>
                  <a:gd name="connsiteX26" fmla="*/ 159348 w 602017"/>
                  <a:gd name="connsiteY26" fmla="*/ 57966 h 268912"/>
                  <a:gd name="connsiteX27" fmla="*/ 159348 w 602017"/>
                  <a:gd name="connsiteY27" fmla="*/ 57966 h 268912"/>
                  <a:gd name="connsiteX28" fmla="*/ 149919 w 602017"/>
                  <a:gd name="connsiteY28" fmla="*/ 23306 h 268912"/>
                  <a:gd name="connsiteX29" fmla="*/ 144842 w 602017"/>
                  <a:gd name="connsiteY29" fmla="*/ 16732 h 268912"/>
                  <a:gd name="connsiteX30" fmla="*/ 115829 w 602017"/>
                  <a:gd name="connsiteY30" fmla="*/ 4183 h 268912"/>
                  <a:gd name="connsiteX31" fmla="*/ 86816 w 602017"/>
                  <a:gd name="connsiteY31" fmla="*/ 0 h 268912"/>
                  <a:gd name="connsiteX32" fmla="*/ 57803 w 602017"/>
                  <a:gd name="connsiteY32" fmla="*/ 4183 h 268912"/>
                  <a:gd name="connsiteX33" fmla="*/ 28790 w 602017"/>
                  <a:gd name="connsiteY33" fmla="*/ 16732 h 268912"/>
                  <a:gd name="connsiteX34" fmla="*/ 23713 w 602017"/>
                  <a:gd name="connsiteY34" fmla="*/ 23306 h 268912"/>
                  <a:gd name="connsiteX35" fmla="*/ 503 w 602017"/>
                  <a:gd name="connsiteY35" fmla="*/ 109955 h 268912"/>
                  <a:gd name="connsiteX36" fmla="*/ 12108 w 602017"/>
                  <a:gd name="connsiteY36" fmla="*/ 124895 h 268912"/>
                  <a:gd name="connsiteX37" fmla="*/ 14284 w 602017"/>
                  <a:gd name="connsiteY37" fmla="*/ 124895 h 268912"/>
                  <a:gd name="connsiteX38" fmla="*/ 28790 w 602017"/>
                  <a:gd name="connsiteY38" fmla="*/ 115334 h 268912"/>
                  <a:gd name="connsiteX39" fmla="*/ 50550 w 602017"/>
                  <a:gd name="connsiteY39" fmla="*/ 35855 h 268912"/>
                  <a:gd name="connsiteX40" fmla="*/ 50550 w 602017"/>
                  <a:gd name="connsiteY40" fmla="*/ 78283 h 268912"/>
                  <a:gd name="connsiteX41" fmla="*/ 28790 w 602017"/>
                  <a:gd name="connsiteY41" fmla="*/ 167323 h 268912"/>
                  <a:gd name="connsiteX42" fmla="*/ 50550 w 602017"/>
                  <a:gd name="connsiteY42" fmla="*/ 167323 h 268912"/>
                  <a:gd name="connsiteX43" fmla="*/ 50550 w 602017"/>
                  <a:gd name="connsiteY43" fmla="*/ 268913 h 268912"/>
                  <a:gd name="connsiteX44" fmla="*/ 79563 w 602017"/>
                  <a:gd name="connsiteY44" fmla="*/ 268913 h 268912"/>
                  <a:gd name="connsiteX45" fmla="*/ 79563 w 602017"/>
                  <a:gd name="connsiteY45" fmla="*/ 167323 h 268912"/>
                  <a:gd name="connsiteX46" fmla="*/ 94069 w 602017"/>
                  <a:gd name="connsiteY46" fmla="*/ 167323 h 268912"/>
                  <a:gd name="connsiteX47" fmla="*/ 94069 w 602017"/>
                  <a:gd name="connsiteY47" fmla="*/ 268913 h 268912"/>
                  <a:gd name="connsiteX48" fmla="*/ 123082 w 602017"/>
                  <a:gd name="connsiteY48" fmla="*/ 268913 h 268912"/>
                  <a:gd name="connsiteX49" fmla="*/ 123082 w 602017"/>
                  <a:gd name="connsiteY49" fmla="*/ 167323 h 268912"/>
                  <a:gd name="connsiteX50" fmla="*/ 144842 w 602017"/>
                  <a:gd name="connsiteY50" fmla="*/ 167323 h 268912"/>
                  <a:gd name="connsiteX51" fmla="*/ 123082 w 602017"/>
                  <a:gd name="connsiteY51" fmla="*/ 78283 h 268912"/>
                  <a:gd name="connsiteX52" fmla="*/ 123082 w 602017"/>
                  <a:gd name="connsiteY52" fmla="*/ 35855 h 268912"/>
                  <a:gd name="connsiteX53" fmla="*/ 144842 w 602017"/>
                  <a:gd name="connsiteY53" fmla="*/ 115931 h 268912"/>
                  <a:gd name="connsiteX54" fmla="*/ 158623 w 602017"/>
                  <a:gd name="connsiteY54" fmla="*/ 125493 h 268912"/>
                  <a:gd name="connsiteX55" fmla="*/ 158623 w 602017"/>
                  <a:gd name="connsiteY55" fmla="*/ 125493 h 268912"/>
                  <a:gd name="connsiteX56" fmla="*/ 172404 w 602017"/>
                  <a:gd name="connsiteY56" fmla="*/ 115931 h 268912"/>
                  <a:gd name="connsiteX57" fmla="*/ 195614 w 602017"/>
                  <a:gd name="connsiteY57" fmla="*/ 35855 h 268912"/>
                  <a:gd name="connsiteX58" fmla="*/ 195614 w 602017"/>
                  <a:gd name="connsiteY58" fmla="*/ 131468 h 268912"/>
                  <a:gd name="connsiteX59" fmla="*/ 195614 w 602017"/>
                  <a:gd name="connsiteY59" fmla="*/ 268913 h 268912"/>
                  <a:gd name="connsiteX60" fmla="*/ 224627 w 602017"/>
                  <a:gd name="connsiteY60" fmla="*/ 268913 h 268912"/>
                  <a:gd name="connsiteX61" fmla="*/ 224627 w 602017"/>
                  <a:gd name="connsiteY61" fmla="*/ 131468 h 268912"/>
                  <a:gd name="connsiteX62" fmla="*/ 239133 w 602017"/>
                  <a:gd name="connsiteY62" fmla="*/ 131468 h 268912"/>
                  <a:gd name="connsiteX63" fmla="*/ 239133 w 602017"/>
                  <a:gd name="connsiteY63" fmla="*/ 268913 h 268912"/>
                  <a:gd name="connsiteX64" fmla="*/ 268146 w 602017"/>
                  <a:gd name="connsiteY64" fmla="*/ 268913 h 268912"/>
                  <a:gd name="connsiteX65" fmla="*/ 268146 w 602017"/>
                  <a:gd name="connsiteY65" fmla="*/ 131468 h 268912"/>
                  <a:gd name="connsiteX66" fmla="*/ 268146 w 602017"/>
                  <a:gd name="connsiteY66" fmla="*/ 35855 h 268912"/>
                  <a:gd name="connsiteX67" fmla="*/ 289906 w 602017"/>
                  <a:gd name="connsiteY67" fmla="*/ 115931 h 268912"/>
                  <a:gd name="connsiteX68" fmla="*/ 304412 w 602017"/>
                  <a:gd name="connsiteY68" fmla="*/ 125493 h 268912"/>
                  <a:gd name="connsiteX69" fmla="*/ 304412 w 602017"/>
                  <a:gd name="connsiteY69" fmla="*/ 125493 h 268912"/>
                  <a:gd name="connsiteX70" fmla="*/ 304412 w 602017"/>
                  <a:gd name="connsiteY70" fmla="*/ 125493 h 268912"/>
                  <a:gd name="connsiteX71" fmla="*/ 318194 w 602017"/>
                  <a:gd name="connsiteY71" fmla="*/ 115931 h 268912"/>
                  <a:gd name="connsiteX72" fmla="*/ 340679 w 602017"/>
                  <a:gd name="connsiteY72" fmla="*/ 35855 h 268912"/>
                  <a:gd name="connsiteX73" fmla="*/ 340679 w 602017"/>
                  <a:gd name="connsiteY73" fmla="*/ 78881 h 268912"/>
                  <a:gd name="connsiteX74" fmla="*/ 318919 w 602017"/>
                  <a:gd name="connsiteY74" fmla="*/ 167323 h 268912"/>
                  <a:gd name="connsiteX75" fmla="*/ 340679 w 602017"/>
                  <a:gd name="connsiteY75" fmla="*/ 167323 h 268912"/>
                  <a:gd name="connsiteX76" fmla="*/ 340679 w 602017"/>
                  <a:gd name="connsiteY76" fmla="*/ 268913 h 268912"/>
                  <a:gd name="connsiteX77" fmla="*/ 369691 w 602017"/>
                  <a:gd name="connsiteY77" fmla="*/ 268913 h 268912"/>
                  <a:gd name="connsiteX78" fmla="*/ 369691 w 602017"/>
                  <a:gd name="connsiteY78" fmla="*/ 167323 h 268912"/>
                  <a:gd name="connsiteX79" fmla="*/ 384198 w 602017"/>
                  <a:gd name="connsiteY79" fmla="*/ 167323 h 268912"/>
                  <a:gd name="connsiteX80" fmla="*/ 384198 w 602017"/>
                  <a:gd name="connsiteY80" fmla="*/ 268913 h 268912"/>
                  <a:gd name="connsiteX81" fmla="*/ 413211 w 602017"/>
                  <a:gd name="connsiteY81" fmla="*/ 268913 h 268912"/>
                  <a:gd name="connsiteX82" fmla="*/ 413211 w 602017"/>
                  <a:gd name="connsiteY82" fmla="*/ 167323 h 268912"/>
                  <a:gd name="connsiteX83" fmla="*/ 434970 w 602017"/>
                  <a:gd name="connsiteY83" fmla="*/ 167323 h 268912"/>
                  <a:gd name="connsiteX84" fmla="*/ 413211 w 602017"/>
                  <a:gd name="connsiteY84" fmla="*/ 77686 h 268912"/>
                  <a:gd name="connsiteX85" fmla="*/ 413211 w 602017"/>
                  <a:gd name="connsiteY85" fmla="*/ 35855 h 268912"/>
                  <a:gd name="connsiteX86" fmla="*/ 434970 w 602017"/>
                  <a:gd name="connsiteY86" fmla="*/ 115931 h 268912"/>
                  <a:gd name="connsiteX87" fmla="*/ 449477 w 602017"/>
                  <a:gd name="connsiteY87" fmla="*/ 125493 h 268912"/>
                  <a:gd name="connsiteX88" fmla="*/ 449477 w 602017"/>
                  <a:gd name="connsiteY88" fmla="*/ 125493 h 268912"/>
                  <a:gd name="connsiteX89" fmla="*/ 449477 w 602017"/>
                  <a:gd name="connsiteY89" fmla="*/ 125493 h 268912"/>
                  <a:gd name="connsiteX90" fmla="*/ 449477 w 602017"/>
                  <a:gd name="connsiteY90" fmla="*/ 125493 h 268912"/>
                  <a:gd name="connsiteX91" fmla="*/ 463983 w 602017"/>
                  <a:gd name="connsiteY91" fmla="*/ 115931 h 268912"/>
                  <a:gd name="connsiteX92" fmla="*/ 485743 w 602017"/>
                  <a:gd name="connsiteY92" fmla="*/ 35855 h 268912"/>
                  <a:gd name="connsiteX93" fmla="*/ 485743 w 602017"/>
                  <a:gd name="connsiteY93" fmla="*/ 131468 h 268912"/>
                  <a:gd name="connsiteX94" fmla="*/ 485743 w 602017"/>
                  <a:gd name="connsiteY94" fmla="*/ 268913 h 268912"/>
                  <a:gd name="connsiteX95" fmla="*/ 514756 w 602017"/>
                  <a:gd name="connsiteY95" fmla="*/ 268913 h 268912"/>
                  <a:gd name="connsiteX96" fmla="*/ 514756 w 602017"/>
                  <a:gd name="connsiteY96" fmla="*/ 131468 h 268912"/>
                  <a:gd name="connsiteX97" fmla="*/ 529262 w 602017"/>
                  <a:gd name="connsiteY97" fmla="*/ 131468 h 268912"/>
                  <a:gd name="connsiteX98" fmla="*/ 529262 w 602017"/>
                  <a:gd name="connsiteY98" fmla="*/ 268913 h 268912"/>
                  <a:gd name="connsiteX99" fmla="*/ 558275 w 602017"/>
                  <a:gd name="connsiteY99" fmla="*/ 268913 h 268912"/>
                  <a:gd name="connsiteX100" fmla="*/ 558275 w 602017"/>
                  <a:gd name="connsiteY100" fmla="*/ 131468 h 268912"/>
                  <a:gd name="connsiteX101" fmla="*/ 558275 w 602017"/>
                  <a:gd name="connsiteY101" fmla="*/ 35855 h 268912"/>
                  <a:gd name="connsiteX102" fmla="*/ 580035 w 602017"/>
                  <a:gd name="connsiteY102" fmla="*/ 115931 h 268912"/>
                  <a:gd name="connsiteX103" fmla="*/ 594541 w 602017"/>
                  <a:gd name="connsiteY103" fmla="*/ 125493 h 268912"/>
                  <a:gd name="connsiteX104" fmla="*/ 599618 w 602017"/>
                  <a:gd name="connsiteY104" fmla="*/ 124895 h 268912"/>
                  <a:gd name="connsiteX105" fmla="*/ 608322 w 602017"/>
                  <a:gd name="connsiteY105" fmla="*/ 110553 h 26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02017" h="268912">
                    <a:moveTo>
                      <a:pt x="608322" y="110553"/>
                    </a:moveTo>
                    <a:lnTo>
                      <a:pt x="585112" y="23306"/>
                    </a:lnTo>
                    <a:cubicBezTo>
                      <a:pt x="584387" y="20915"/>
                      <a:pt x="582936" y="18525"/>
                      <a:pt x="580035" y="16732"/>
                    </a:cubicBezTo>
                    <a:cubicBezTo>
                      <a:pt x="571331" y="11354"/>
                      <a:pt x="561902" y="6573"/>
                      <a:pt x="551022" y="4183"/>
                    </a:cubicBezTo>
                    <a:cubicBezTo>
                      <a:pt x="541593" y="1793"/>
                      <a:pt x="532164" y="0"/>
                      <a:pt x="522009" y="0"/>
                    </a:cubicBezTo>
                    <a:cubicBezTo>
                      <a:pt x="511855" y="0"/>
                      <a:pt x="501700" y="1195"/>
                      <a:pt x="492996" y="4183"/>
                    </a:cubicBezTo>
                    <a:cubicBezTo>
                      <a:pt x="482116" y="7171"/>
                      <a:pt x="472687" y="11354"/>
                      <a:pt x="463983" y="16732"/>
                    </a:cubicBezTo>
                    <a:cubicBezTo>
                      <a:pt x="461082" y="18525"/>
                      <a:pt x="459631" y="20915"/>
                      <a:pt x="458906" y="23306"/>
                    </a:cubicBezTo>
                    <a:lnTo>
                      <a:pt x="449477" y="58563"/>
                    </a:lnTo>
                    <a:lnTo>
                      <a:pt x="449477" y="58563"/>
                    </a:lnTo>
                    <a:lnTo>
                      <a:pt x="440048" y="23306"/>
                    </a:lnTo>
                    <a:cubicBezTo>
                      <a:pt x="439322" y="20915"/>
                      <a:pt x="437872" y="18525"/>
                      <a:pt x="434970" y="16732"/>
                    </a:cubicBezTo>
                    <a:cubicBezTo>
                      <a:pt x="426267" y="11354"/>
                      <a:pt x="416837" y="6573"/>
                      <a:pt x="405958" y="4183"/>
                    </a:cubicBezTo>
                    <a:cubicBezTo>
                      <a:pt x="396528" y="1793"/>
                      <a:pt x="387099" y="0"/>
                      <a:pt x="376945" y="0"/>
                    </a:cubicBezTo>
                    <a:cubicBezTo>
                      <a:pt x="366790" y="0"/>
                      <a:pt x="356636" y="1195"/>
                      <a:pt x="347932" y="4183"/>
                    </a:cubicBezTo>
                    <a:cubicBezTo>
                      <a:pt x="337052" y="7171"/>
                      <a:pt x="327623" y="11354"/>
                      <a:pt x="318919" y="16732"/>
                    </a:cubicBezTo>
                    <a:cubicBezTo>
                      <a:pt x="316018" y="18525"/>
                      <a:pt x="314567" y="20915"/>
                      <a:pt x="313842" y="23306"/>
                    </a:cubicBezTo>
                    <a:lnTo>
                      <a:pt x="304412" y="57966"/>
                    </a:lnTo>
                    <a:lnTo>
                      <a:pt x="304412" y="58563"/>
                    </a:lnTo>
                    <a:lnTo>
                      <a:pt x="294983" y="23306"/>
                    </a:lnTo>
                    <a:cubicBezTo>
                      <a:pt x="294258" y="20915"/>
                      <a:pt x="292807" y="18525"/>
                      <a:pt x="289906" y="16732"/>
                    </a:cubicBezTo>
                    <a:cubicBezTo>
                      <a:pt x="281202" y="11354"/>
                      <a:pt x="271773" y="6573"/>
                      <a:pt x="260893" y="4183"/>
                    </a:cubicBezTo>
                    <a:cubicBezTo>
                      <a:pt x="251464" y="1793"/>
                      <a:pt x="242035" y="0"/>
                      <a:pt x="231880" y="0"/>
                    </a:cubicBezTo>
                    <a:cubicBezTo>
                      <a:pt x="221726" y="0"/>
                      <a:pt x="211571" y="1195"/>
                      <a:pt x="202867" y="4183"/>
                    </a:cubicBezTo>
                    <a:cubicBezTo>
                      <a:pt x="191988" y="7171"/>
                      <a:pt x="182558" y="11354"/>
                      <a:pt x="173855" y="16732"/>
                    </a:cubicBezTo>
                    <a:cubicBezTo>
                      <a:pt x="170953" y="18525"/>
                      <a:pt x="169503" y="20915"/>
                      <a:pt x="168777" y="23306"/>
                    </a:cubicBezTo>
                    <a:lnTo>
                      <a:pt x="159348" y="57966"/>
                    </a:lnTo>
                    <a:lnTo>
                      <a:pt x="159348" y="57966"/>
                    </a:lnTo>
                    <a:lnTo>
                      <a:pt x="149919" y="23306"/>
                    </a:lnTo>
                    <a:cubicBezTo>
                      <a:pt x="149194" y="20915"/>
                      <a:pt x="147743" y="18525"/>
                      <a:pt x="144842" y="16732"/>
                    </a:cubicBezTo>
                    <a:cubicBezTo>
                      <a:pt x="136138" y="11354"/>
                      <a:pt x="126709" y="6573"/>
                      <a:pt x="115829" y="4183"/>
                    </a:cubicBezTo>
                    <a:cubicBezTo>
                      <a:pt x="106400" y="1793"/>
                      <a:pt x="96970" y="0"/>
                      <a:pt x="86816" y="0"/>
                    </a:cubicBezTo>
                    <a:cubicBezTo>
                      <a:pt x="76661" y="0"/>
                      <a:pt x="66507" y="1195"/>
                      <a:pt x="57803" y="4183"/>
                    </a:cubicBezTo>
                    <a:cubicBezTo>
                      <a:pt x="46923" y="7171"/>
                      <a:pt x="37494" y="11354"/>
                      <a:pt x="28790" y="16732"/>
                    </a:cubicBezTo>
                    <a:cubicBezTo>
                      <a:pt x="25889" y="18525"/>
                      <a:pt x="24438" y="20915"/>
                      <a:pt x="23713" y="23306"/>
                    </a:cubicBezTo>
                    <a:lnTo>
                      <a:pt x="503" y="109955"/>
                    </a:lnTo>
                    <a:cubicBezTo>
                      <a:pt x="-1673" y="116529"/>
                      <a:pt x="3404" y="123700"/>
                      <a:pt x="12108" y="124895"/>
                    </a:cubicBezTo>
                    <a:cubicBezTo>
                      <a:pt x="12833" y="124895"/>
                      <a:pt x="13558" y="124895"/>
                      <a:pt x="14284" y="124895"/>
                    </a:cubicBezTo>
                    <a:cubicBezTo>
                      <a:pt x="20812" y="124895"/>
                      <a:pt x="26614" y="121309"/>
                      <a:pt x="28790" y="115334"/>
                    </a:cubicBezTo>
                    <a:lnTo>
                      <a:pt x="50550" y="35855"/>
                    </a:lnTo>
                    <a:lnTo>
                      <a:pt x="50550" y="78283"/>
                    </a:lnTo>
                    <a:lnTo>
                      <a:pt x="28790" y="167323"/>
                    </a:lnTo>
                    <a:lnTo>
                      <a:pt x="50550" y="167323"/>
                    </a:lnTo>
                    <a:lnTo>
                      <a:pt x="50550" y="268913"/>
                    </a:lnTo>
                    <a:lnTo>
                      <a:pt x="79563" y="268913"/>
                    </a:lnTo>
                    <a:lnTo>
                      <a:pt x="79563" y="167323"/>
                    </a:lnTo>
                    <a:lnTo>
                      <a:pt x="94069" y="167323"/>
                    </a:lnTo>
                    <a:lnTo>
                      <a:pt x="94069" y="268913"/>
                    </a:lnTo>
                    <a:lnTo>
                      <a:pt x="123082" y="268913"/>
                    </a:lnTo>
                    <a:lnTo>
                      <a:pt x="123082" y="167323"/>
                    </a:lnTo>
                    <a:lnTo>
                      <a:pt x="144842" y="167323"/>
                    </a:lnTo>
                    <a:lnTo>
                      <a:pt x="123082" y="78283"/>
                    </a:lnTo>
                    <a:lnTo>
                      <a:pt x="123082" y="35855"/>
                    </a:lnTo>
                    <a:lnTo>
                      <a:pt x="144842" y="115931"/>
                    </a:lnTo>
                    <a:cubicBezTo>
                      <a:pt x="146292" y="121309"/>
                      <a:pt x="152095" y="125493"/>
                      <a:pt x="158623" y="125493"/>
                    </a:cubicBezTo>
                    <a:lnTo>
                      <a:pt x="158623" y="125493"/>
                    </a:lnTo>
                    <a:cubicBezTo>
                      <a:pt x="165151" y="125493"/>
                      <a:pt x="170953" y="121907"/>
                      <a:pt x="172404" y="115931"/>
                    </a:cubicBezTo>
                    <a:lnTo>
                      <a:pt x="195614" y="35855"/>
                    </a:lnTo>
                    <a:lnTo>
                      <a:pt x="195614" y="131468"/>
                    </a:lnTo>
                    <a:lnTo>
                      <a:pt x="195614" y="268913"/>
                    </a:lnTo>
                    <a:lnTo>
                      <a:pt x="224627" y="268913"/>
                    </a:lnTo>
                    <a:lnTo>
                      <a:pt x="224627" y="131468"/>
                    </a:lnTo>
                    <a:lnTo>
                      <a:pt x="239133" y="131468"/>
                    </a:lnTo>
                    <a:lnTo>
                      <a:pt x="239133" y="268913"/>
                    </a:lnTo>
                    <a:lnTo>
                      <a:pt x="268146" y="268913"/>
                    </a:lnTo>
                    <a:lnTo>
                      <a:pt x="268146" y="131468"/>
                    </a:lnTo>
                    <a:lnTo>
                      <a:pt x="268146" y="35855"/>
                    </a:lnTo>
                    <a:lnTo>
                      <a:pt x="289906" y="115931"/>
                    </a:lnTo>
                    <a:cubicBezTo>
                      <a:pt x="291357" y="121309"/>
                      <a:pt x="297159" y="125493"/>
                      <a:pt x="304412" y="125493"/>
                    </a:cubicBezTo>
                    <a:cubicBezTo>
                      <a:pt x="304412" y="125493"/>
                      <a:pt x="304412" y="125493"/>
                      <a:pt x="304412" y="125493"/>
                    </a:cubicBezTo>
                    <a:lnTo>
                      <a:pt x="304412" y="125493"/>
                    </a:lnTo>
                    <a:cubicBezTo>
                      <a:pt x="310940" y="125493"/>
                      <a:pt x="316743" y="121907"/>
                      <a:pt x="318194" y="115931"/>
                    </a:cubicBezTo>
                    <a:lnTo>
                      <a:pt x="340679" y="35855"/>
                    </a:lnTo>
                    <a:lnTo>
                      <a:pt x="340679" y="78881"/>
                    </a:lnTo>
                    <a:lnTo>
                      <a:pt x="318919" y="167323"/>
                    </a:lnTo>
                    <a:lnTo>
                      <a:pt x="340679" y="167323"/>
                    </a:lnTo>
                    <a:lnTo>
                      <a:pt x="340679" y="268913"/>
                    </a:lnTo>
                    <a:lnTo>
                      <a:pt x="369691" y="268913"/>
                    </a:lnTo>
                    <a:lnTo>
                      <a:pt x="369691" y="167323"/>
                    </a:lnTo>
                    <a:lnTo>
                      <a:pt x="384198" y="167323"/>
                    </a:lnTo>
                    <a:lnTo>
                      <a:pt x="384198" y="268913"/>
                    </a:lnTo>
                    <a:lnTo>
                      <a:pt x="413211" y="268913"/>
                    </a:lnTo>
                    <a:lnTo>
                      <a:pt x="413211" y="167323"/>
                    </a:lnTo>
                    <a:lnTo>
                      <a:pt x="434970" y="167323"/>
                    </a:lnTo>
                    <a:lnTo>
                      <a:pt x="413211" y="77686"/>
                    </a:lnTo>
                    <a:lnTo>
                      <a:pt x="413211" y="35855"/>
                    </a:lnTo>
                    <a:lnTo>
                      <a:pt x="434970" y="115931"/>
                    </a:lnTo>
                    <a:cubicBezTo>
                      <a:pt x="436421" y="121309"/>
                      <a:pt x="442224" y="125493"/>
                      <a:pt x="449477" y="125493"/>
                    </a:cubicBezTo>
                    <a:cubicBezTo>
                      <a:pt x="449477" y="125493"/>
                      <a:pt x="449477" y="125493"/>
                      <a:pt x="449477" y="125493"/>
                    </a:cubicBezTo>
                    <a:lnTo>
                      <a:pt x="449477" y="125493"/>
                    </a:lnTo>
                    <a:cubicBezTo>
                      <a:pt x="449477" y="125493"/>
                      <a:pt x="449477" y="125493"/>
                      <a:pt x="449477" y="125493"/>
                    </a:cubicBezTo>
                    <a:cubicBezTo>
                      <a:pt x="456005" y="125493"/>
                      <a:pt x="461807" y="121907"/>
                      <a:pt x="463983" y="115931"/>
                    </a:cubicBezTo>
                    <a:lnTo>
                      <a:pt x="485743" y="35855"/>
                    </a:lnTo>
                    <a:lnTo>
                      <a:pt x="485743" y="131468"/>
                    </a:lnTo>
                    <a:lnTo>
                      <a:pt x="485743" y="268913"/>
                    </a:lnTo>
                    <a:lnTo>
                      <a:pt x="514756" y="268913"/>
                    </a:lnTo>
                    <a:lnTo>
                      <a:pt x="514756" y="131468"/>
                    </a:lnTo>
                    <a:lnTo>
                      <a:pt x="529262" y="131468"/>
                    </a:lnTo>
                    <a:lnTo>
                      <a:pt x="529262" y="268913"/>
                    </a:lnTo>
                    <a:lnTo>
                      <a:pt x="558275" y="268913"/>
                    </a:lnTo>
                    <a:lnTo>
                      <a:pt x="558275" y="131468"/>
                    </a:lnTo>
                    <a:lnTo>
                      <a:pt x="558275" y="35855"/>
                    </a:lnTo>
                    <a:lnTo>
                      <a:pt x="580035" y="115931"/>
                    </a:lnTo>
                    <a:cubicBezTo>
                      <a:pt x="581485" y="121309"/>
                      <a:pt x="587288" y="125493"/>
                      <a:pt x="594541" y="125493"/>
                    </a:cubicBezTo>
                    <a:cubicBezTo>
                      <a:pt x="595992" y="125493"/>
                      <a:pt x="598168" y="125493"/>
                      <a:pt x="599618" y="124895"/>
                    </a:cubicBezTo>
                    <a:cubicBezTo>
                      <a:pt x="606146" y="122505"/>
                      <a:pt x="609773" y="116529"/>
                      <a:pt x="608322" y="110553"/>
                    </a:cubicBezTo>
                    <a:close/>
                  </a:path>
                </a:pathLst>
              </a:custGeom>
              <a:solidFill>
                <a:srgbClr val="FFC000"/>
              </a:solidFill>
              <a:ln w="7243"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734" name="Graphic 203" descr="Group">
              <a:extLst>
                <a:ext uri="{FF2B5EF4-FFF2-40B4-BE49-F238E27FC236}">
                  <a16:creationId xmlns:a16="http://schemas.microsoft.com/office/drawing/2014/main" id="{1E317035-0CC7-46BF-AF9A-B58A105F1657}"/>
                </a:ext>
              </a:extLst>
            </p:cNvPr>
            <p:cNvGrpSpPr/>
            <p:nvPr/>
          </p:nvGrpSpPr>
          <p:grpSpPr>
            <a:xfrm>
              <a:off x="2016051" y="656903"/>
              <a:ext cx="562369" cy="352861"/>
              <a:chOff x="6285793" y="572129"/>
              <a:chExt cx="562369" cy="352861"/>
            </a:xfrm>
          </p:grpSpPr>
          <p:sp>
            <p:nvSpPr>
              <p:cNvPr id="735" name="Freeform: Shape 734">
                <a:extLst>
                  <a:ext uri="{FF2B5EF4-FFF2-40B4-BE49-F238E27FC236}">
                    <a16:creationId xmlns:a16="http://schemas.microsoft.com/office/drawing/2014/main" id="{C8F26E0E-6F55-4DAF-A621-7C3B1F76904A}"/>
                  </a:ext>
                </a:extLst>
              </p:cNvPr>
              <p:cNvSpPr/>
              <p:nvPr/>
            </p:nvSpPr>
            <p:spPr>
              <a:xfrm>
                <a:off x="6739546"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6" name="Freeform: Shape 735">
                <a:extLst>
                  <a:ext uri="{FF2B5EF4-FFF2-40B4-BE49-F238E27FC236}">
                    <a16:creationId xmlns:a16="http://schemas.microsoft.com/office/drawing/2014/main" id="{6A8E9EBD-E636-40F0-A156-7BD41A9D27DA}"/>
                  </a:ext>
                </a:extLst>
              </p:cNvPr>
              <p:cNvSpPr/>
              <p:nvPr/>
            </p:nvSpPr>
            <p:spPr>
              <a:xfrm>
                <a:off x="6333014"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7" name="Freeform: Shape 736">
                <a:extLst>
                  <a:ext uri="{FF2B5EF4-FFF2-40B4-BE49-F238E27FC236}">
                    <a16:creationId xmlns:a16="http://schemas.microsoft.com/office/drawing/2014/main" id="{A2CFD2AB-52DB-4497-811D-6ACB32071613}"/>
                  </a:ext>
                </a:extLst>
              </p:cNvPr>
              <p:cNvSpPr/>
              <p:nvPr/>
            </p:nvSpPr>
            <p:spPr>
              <a:xfrm>
                <a:off x="660403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8" name="Freeform: Shape 737">
                <a:extLst>
                  <a:ext uri="{FF2B5EF4-FFF2-40B4-BE49-F238E27FC236}">
                    <a16:creationId xmlns:a16="http://schemas.microsoft.com/office/drawing/2014/main" id="{BC87F94F-293E-4D1A-AA81-9D7DFF2A1A42}"/>
                  </a:ext>
                </a:extLst>
              </p:cNvPr>
              <p:cNvSpPr/>
              <p:nvPr/>
            </p:nvSpPr>
            <p:spPr>
              <a:xfrm>
                <a:off x="646852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39" name="Freeform: Shape 738">
                <a:extLst>
                  <a:ext uri="{FF2B5EF4-FFF2-40B4-BE49-F238E27FC236}">
                    <a16:creationId xmlns:a16="http://schemas.microsoft.com/office/drawing/2014/main" id="{A8236220-FA70-4B1F-A1BB-B1A4A6A1CD63}"/>
                  </a:ext>
                </a:extLst>
              </p:cNvPr>
              <p:cNvSpPr/>
              <p:nvPr/>
            </p:nvSpPr>
            <p:spPr>
              <a:xfrm>
                <a:off x="6285793" y="641441"/>
                <a:ext cx="562369" cy="283549"/>
              </a:xfrm>
              <a:custGeom>
                <a:avLst/>
                <a:gdLst>
                  <a:gd name="connsiteX0" fmla="*/ 568259 w 562369"/>
                  <a:gd name="connsiteY0" fmla="*/ 116570 h 283548"/>
                  <a:gd name="connsiteX1" fmla="*/ 546577 w 562369"/>
                  <a:gd name="connsiteY1" fmla="*/ 24574 h 283548"/>
                  <a:gd name="connsiteX2" fmla="*/ 541834 w 562369"/>
                  <a:gd name="connsiteY2" fmla="*/ 17643 h 283548"/>
                  <a:gd name="connsiteX3" fmla="*/ 514732 w 562369"/>
                  <a:gd name="connsiteY3" fmla="*/ 4411 h 283548"/>
                  <a:gd name="connsiteX4" fmla="*/ 487630 w 562369"/>
                  <a:gd name="connsiteY4" fmla="*/ 0 h 283548"/>
                  <a:gd name="connsiteX5" fmla="*/ 460528 w 562369"/>
                  <a:gd name="connsiteY5" fmla="*/ 4411 h 283548"/>
                  <a:gd name="connsiteX6" fmla="*/ 433426 w 562369"/>
                  <a:gd name="connsiteY6" fmla="*/ 17643 h 283548"/>
                  <a:gd name="connsiteX7" fmla="*/ 428683 w 562369"/>
                  <a:gd name="connsiteY7" fmla="*/ 24574 h 283548"/>
                  <a:gd name="connsiteX8" fmla="*/ 419875 w 562369"/>
                  <a:gd name="connsiteY8" fmla="*/ 61751 h 283548"/>
                  <a:gd name="connsiteX9" fmla="*/ 419875 w 562369"/>
                  <a:gd name="connsiteY9" fmla="*/ 61751 h 283548"/>
                  <a:gd name="connsiteX10" fmla="*/ 411067 w 562369"/>
                  <a:gd name="connsiteY10" fmla="*/ 24574 h 283548"/>
                  <a:gd name="connsiteX11" fmla="*/ 406324 w 562369"/>
                  <a:gd name="connsiteY11" fmla="*/ 17643 h 283548"/>
                  <a:gd name="connsiteX12" fmla="*/ 379222 w 562369"/>
                  <a:gd name="connsiteY12" fmla="*/ 4411 h 283548"/>
                  <a:gd name="connsiteX13" fmla="*/ 352120 w 562369"/>
                  <a:gd name="connsiteY13" fmla="*/ 0 h 283548"/>
                  <a:gd name="connsiteX14" fmla="*/ 325017 w 562369"/>
                  <a:gd name="connsiteY14" fmla="*/ 4411 h 283548"/>
                  <a:gd name="connsiteX15" fmla="*/ 297915 w 562369"/>
                  <a:gd name="connsiteY15" fmla="*/ 17643 h 283548"/>
                  <a:gd name="connsiteX16" fmla="*/ 293172 w 562369"/>
                  <a:gd name="connsiteY16" fmla="*/ 24574 h 283548"/>
                  <a:gd name="connsiteX17" fmla="*/ 284364 w 562369"/>
                  <a:gd name="connsiteY17" fmla="*/ 61121 h 283548"/>
                  <a:gd name="connsiteX18" fmla="*/ 284364 w 562369"/>
                  <a:gd name="connsiteY18" fmla="*/ 61751 h 283548"/>
                  <a:gd name="connsiteX19" fmla="*/ 275556 w 562369"/>
                  <a:gd name="connsiteY19" fmla="*/ 24574 h 283548"/>
                  <a:gd name="connsiteX20" fmla="*/ 270813 w 562369"/>
                  <a:gd name="connsiteY20" fmla="*/ 17643 h 283548"/>
                  <a:gd name="connsiteX21" fmla="*/ 243711 w 562369"/>
                  <a:gd name="connsiteY21" fmla="*/ 4411 h 283548"/>
                  <a:gd name="connsiteX22" fmla="*/ 216609 w 562369"/>
                  <a:gd name="connsiteY22" fmla="*/ 0 h 283548"/>
                  <a:gd name="connsiteX23" fmla="*/ 189507 w 562369"/>
                  <a:gd name="connsiteY23" fmla="*/ 4411 h 283548"/>
                  <a:gd name="connsiteX24" fmla="*/ 162405 w 562369"/>
                  <a:gd name="connsiteY24" fmla="*/ 17643 h 283548"/>
                  <a:gd name="connsiteX25" fmla="*/ 157662 w 562369"/>
                  <a:gd name="connsiteY25" fmla="*/ 24574 h 283548"/>
                  <a:gd name="connsiteX26" fmla="*/ 148854 w 562369"/>
                  <a:gd name="connsiteY26" fmla="*/ 61121 h 283548"/>
                  <a:gd name="connsiteX27" fmla="*/ 148854 w 562369"/>
                  <a:gd name="connsiteY27" fmla="*/ 61121 h 283548"/>
                  <a:gd name="connsiteX28" fmla="*/ 140045 w 562369"/>
                  <a:gd name="connsiteY28" fmla="*/ 24574 h 283548"/>
                  <a:gd name="connsiteX29" fmla="*/ 135303 w 562369"/>
                  <a:gd name="connsiteY29" fmla="*/ 17643 h 283548"/>
                  <a:gd name="connsiteX30" fmla="*/ 108200 w 562369"/>
                  <a:gd name="connsiteY30" fmla="*/ 4411 h 283548"/>
                  <a:gd name="connsiteX31" fmla="*/ 81098 w 562369"/>
                  <a:gd name="connsiteY31" fmla="*/ 0 h 283548"/>
                  <a:gd name="connsiteX32" fmla="*/ 53996 w 562369"/>
                  <a:gd name="connsiteY32" fmla="*/ 4411 h 283548"/>
                  <a:gd name="connsiteX33" fmla="*/ 26894 w 562369"/>
                  <a:gd name="connsiteY33" fmla="*/ 17643 h 283548"/>
                  <a:gd name="connsiteX34" fmla="*/ 22151 w 562369"/>
                  <a:gd name="connsiteY34" fmla="*/ 24574 h 283548"/>
                  <a:gd name="connsiteX35" fmla="*/ 469 w 562369"/>
                  <a:gd name="connsiteY35" fmla="*/ 115940 h 283548"/>
                  <a:gd name="connsiteX36" fmla="*/ 11310 w 562369"/>
                  <a:gd name="connsiteY36" fmla="*/ 131693 h 283548"/>
                  <a:gd name="connsiteX37" fmla="*/ 13343 w 562369"/>
                  <a:gd name="connsiteY37" fmla="*/ 131693 h 283548"/>
                  <a:gd name="connsiteX38" fmla="*/ 26894 w 562369"/>
                  <a:gd name="connsiteY38" fmla="*/ 121611 h 283548"/>
                  <a:gd name="connsiteX39" fmla="*/ 47221 w 562369"/>
                  <a:gd name="connsiteY39" fmla="*/ 37807 h 283548"/>
                  <a:gd name="connsiteX40" fmla="*/ 47221 w 562369"/>
                  <a:gd name="connsiteY40" fmla="*/ 82544 h 283548"/>
                  <a:gd name="connsiteX41" fmla="*/ 26894 w 562369"/>
                  <a:gd name="connsiteY41" fmla="*/ 176430 h 283548"/>
                  <a:gd name="connsiteX42" fmla="*/ 47221 w 562369"/>
                  <a:gd name="connsiteY42" fmla="*/ 176430 h 283548"/>
                  <a:gd name="connsiteX43" fmla="*/ 47221 w 562369"/>
                  <a:gd name="connsiteY43" fmla="*/ 283549 h 283548"/>
                  <a:gd name="connsiteX44" fmla="*/ 74323 w 562369"/>
                  <a:gd name="connsiteY44" fmla="*/ 283549 h 283548"/>
                  <a:gd name="connsiteX45" fmla="*/ 74323 w 562369"/>
                  <a:gd name="connsiteY45" fmla="*/ 176430 h 283548"/>
                  <a:gd name="connsiteX46" fmla="*/ 87874 w 562369"/>
                  <a:gd name="connsiteY46" fmla="*/ 176430 h 283548"/>
                  <a:gd name="connsiteX47" fmla="*/ 87874 w 562369"/>
                  <a:gd name="connsiteY47" fmla="*/ 283549 h 283548"/>
                  <a:gd name="connsiteX48" fmla="*/ 114976 w 562369"/>
                  <a:gd name="connsiteY48" fmla="*/ 283549 h 283548"/>
                  <a:gd name="connsiteX49" fmla="*/ 114976 w 562369"/>
                  <a:gd name="connsiteY49" fmla="*/ 176430 h 283548"/>
                  <a:gd name="connsiteX50" fmla="*/ 135303 w 562369"/>
                  <a:gd name="connsiteY50" fmla="*/ 176430 h 283548"/>
                  <a:gd name="connsiteX51" fmla="*/ 114976 w 562369"/>
                  <a:gd name="connsiteY51" fmla="*/ 82544 h 283548"/>
                  <a:gd name="connsiteX52" fmla="*/ 114976 w 562369"/>
                  <a:gd name="connsiteY52" fmla="*/ 37807 h 283548"/>
                  <a:gd name="connsiteX53" fmla="*/ 135303 w 562369"/>
                  <a:gd name="connsiteY53" fmla="*/ 122241 h 283548"/>
                  <a:gd name="connsiteX54" fmla="*/ 148176 w 562369"/>
                  <a:gd name="connsiteY54" fmla="*/ 132323 h 283548"/>
                  <a:gd name="connsiteX55" fmla="*/ 148176 w 562369"/>
                  <a:gd name="connsiteY55" fmla="*/ 132323 h 283548"/>
                  <a:gd name="connsiteX56" fmla="*/ 161050 w 562369"/>
                  <a:gd name="connsiteY56" fmla="*/ 122241 h 283548"/>
                  <a:gd name="connsiteX57" fmla="*/ 182731 w 562369"/>
                  <a:gd name="connsiteY57" fmla="*/ 37807 h 283548"/>
                  <a:gd name="connsiteX58" fmla="*/ 182731 w 562369"/>
                  <a:gd name="connsiteY58" fmla="*/ 138624 h 283548"/>
                  <a:gd name="connsiteX59" fmla="*/ 182731 w 562369"/>
                  <a:gd name="connsiteY59" fmla="*/ 283549 h 283548"/>
                  <a:gd name="connsiteX60" fmla="*/ 209833 w 562369"/>
                  <a:gd name="connsiteY60" fmla="*/ 283549 h 283548"/>
                  <a:gd name="connsiteX61" fmla="*/ 209833 w 562369"/>
                  <a:gd name="connsiteY61" fmla="*/ 138624 h 283548"/>
                  <a:gd name="connsiteX62" fmla="*/ 223384 w 562369"/>
                  <a:gd name="connsiteY62" fmla="*/ 138624 h 283548"/>
                  <a:gd name="connsiteX63" fmla="*/ 223384 w 562369"/>
                  <a:gd name="connsiteY63" fmla="*/ 283549 h 283548"/>
                  <a:gd name="connsiteX64" fmla="*/ 250487 w 562369"/>
                  <a:gd name="connsiteY64" fmla="*/ 283549 h 283548"/>
                  <a:gd name="connsiteX65" fmla="*/ 250487 w 562369"/>
                  <a:gd name="connsiteY65" fmla="*/ 138624 h 283548"/>
                  <a:gd name="connsiteX66" fmla="*/ 250487 w 562369"/>
                  <a:gd name="connsiteY66" fmla="*/ 37807 h 283548"/>
                  <a:gd name="connsiteX67" fmla="*/ 270813 w 562369"/>
                  <a:gd name="connsiteY67" fmla="*/ 122241 h 283548"/>
                  <a:gd name="connsiteX68" fmla="*/ 284364 w 562369"/>
                  <a:gd name="connsiteY68" fmla="*/ 132323 h 283548"/>
                  <a:gd name="connsiteX69" fmla="*/ 284364 w 562369"/>
                  <a:gd name="connsiteY69" fmla="*/ 132323 h 283548"/>
                  <a:gd name="connsiteX70" fmla="*/ 284364 w 562369"/>
                  <a:gd name="connsiteY70" fmla="*/ 132323 h 283548"/>
                  <a:gd name="connsiteX71" fmla="*/ 297238 w 562369"/>
                  <a:gd name="connsiteY71" fmla="*/ 122241 h 283548"/>
                  <a:gd name="connsiteX72" fmla="*/ 318242 w 562369"/>
                  <a:gd name="connsiteY72" fmla="*/ 37807 h 283548"/>
                  <a:gd name="connsiteX73" fmla="*/ 318242 w 562369"/>
                  <a:gd name="connsiteY73" fmla="*/ 83174 h 283548"/>
                  <a:gd name="connsiteX74" fmla="*/ 297915 w 562369"/>
                  <a:gd name="connsiteY74" fmla="*/ 176430 h 283548"/>
                  <a:gd name="connsiteX75" fmla="*/ 318242 w 562369"/>
                  <a:gd name="connsiteY75" fmla="*/ 176430 h 283548"/>
                  <a:gd name="connsiteX76" fmla="*/ 318242 w 562369"/>
                  <a:gd name="connsiteY76" fmla="*/ 283549 h 283548"/>
                  <a:gd name="connsiteX77" fmla="*/ 345344 w 562369"/>
                  <a:gd name="connsiteY77" fmla="*/ 283549 h 283548"/>
                  <a:gd name="connsiteX78" fmla="*/ 345344 w 562369"/>
                  <a:gd name="connsiteY78" fmla="*/ 176430 h 283548"/>
                  <a:gd name="connsiteX79" fmla="*/ 358895 w 562369"/>
                  <a:gd name="connsiteY79" fmla="*/ 176430 h 283548"/>
                  <a:gd name="connsiteX80" fmla="*/ 358895 w 562369"/>
                  <a:gd name="connsiteY80" fmla="*/ 283549 h 283548"/>
                  <a:gd name="connsiteX81" fmla="*/ 385997 w 562369"/>
                  <a:gd name="connsiteY81" fmla="*/ 283549 h 283548"/>
                  <a:gd name="connsiteX82" fmla="*/ 385997 w 562369"/>
                  <a:gd name="connsiteY82" fmla="*/ 176430 h 283548"/>
                  <a:gd name="connsiteX83" fmla="*/ 406324 w 562369"/>
                  <a:gd name="connsiteY83" fmla="*/ 176430 h 283548"/>
                  <a:gd name="connsiteX84" fmla="*/ 385997 w 562369"/>
                  <a:gd name="connsiteY84" fmla="*/ 81914 h 283548"/>
                  <a:gd name="connsiteX85" fmla="*/ 385997 w 562369"/>
                  <a:gd name="connsiteY85" fmla="*/ 37807 h 283548"/>
                  <a:gd name="connsiteX86" fmla="*/ 406324 w 562369"/>
                  <a:gd name="connsiteY86" fmla="*/ 122241 h 283548"/>
                  <a:gd name="connsiteX87" fmla="*/ 419875 w 562369"/>
                  <a:gd name="connsiteY87" fmla="*/ 132323 h 283548"/>
                  <a:gd name="connsiteX88" fmla="*/ 419875 w 562369"/>
                  <a:gd name="connsiteY88" fmla="*/ 132323 h 283548"/>
                  <a:gd name="connsiteX89" fmla="*/ 419875 w 562369"/>
                  <a:gd name="connsiteY89" fmla="*/ 132323 h 283548"/>
                  <a:gd name="connsiteX90" fmla="*/ 419875 w 562369"/>
                  <a:gd name="connsiteY90" fmla="*/ 132323 h 283548"/>
                  <a:gd name="connsiteX91" fmla="*/ 433426 w 562369"/>
                  <a:gd name="connsiteY91" fmla="*/ 122241 h 283548"/>
                  <a:gd name="connsiteX92" fmla="*/ 453753 w 562369"/>
                  <a:gd name="connsiteY92" fmla="*/ 37807 h 283548"/>
                  <a:gd name="connsiteX93" fmla="*/ 453753 w 562369"/>
                  <a:gd name="connsiteY93" fmla="*/ 138624 h 283548"/>
                  <a:gd name="connsiteX94" fmla="*/ 453753 w 562369"/>
                  <a:gd name="connsiteY94" fmla="*/ 283549 h 283548"/>
                  <a:gd name="connsiteX95" fmla="*/ 480855 w 562369"/>
                  <a:gd name="connsiteY95" fmla="*/ 283549 h 283548"/>
                  <a:gd name="connsiteX96" fmla="*/ 480855 w 562369"/>
                  <a:gd name="connsiteY96" fmla="*/ 138624 h 283548"/>
                  <a:gd name="connsiteX97" fmla="*/ 494406 w 562369"/>
                  <a:gd name="connsiteY97" fmla="*/ 138624 h 283548"/>
                  <a:gd name="connsiteX98" fmla="*/ 494406 w 562369"/>
                  <a:gd name="connsiteY98" fmla="*/ 283549 h 283548"/>
                  <a:gd name="connsiteX99" fmla="*/ 521508 w 562369"/>
                  <a:gd name="connsiteY99" fmla="*/ 283549 h 283548"/>
                  <a:gd name="connsiteX100" fmla="*/ 521508 w 562369"/>
                  <a:gd name="connsiteY100" fmla="*/ 138624 h 283548"/>
                  <a:gd name="connsiteX101" fmla="*/ 521508 w 562369"/>
                  <a:gd name="connsiteY101" fmla="*/ 37807 h 283548"/>
                  <a:gd name="connsiteX102" fmla="*/ 541834 w 562369"/>
                  <a:gd name="connsiteY102" fmla="*/ 122241 h 283548"/>
                  <a:gd name="connsiteX103" fmla="*/ 555386 w 562369"/>
                  <a:gd name="connsiteY103" fmla="*/ 132323 h 283548"/>
                  <a:gd name="connsiteX104" fmla="*/ 560128 w 562369"/>
                  <a:gd name="connsiteY104" fmla="*/ 131693 h 283548"/>
                  <a:gd name="connsiteX105" fmla="*/ 568259 w 562369"/>
                  <a:gd name="connsiteY105" fmla="*/ 116570 h 28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62369" h="283548">
                    <a:moveTo>
                      <a:pt x="568259" y="116570"/>
                    </a:moveTo>
                    <a:lnTo>
                      <a:pt x="546577" y="24574"/>
                    </a:lnTo>
                    <a:cubicBezTo>
                      <a:pt x="545900" y="22054"/>
                      <a:pt x="544545" y="19533"/>
                      <a:pt x="541834" y="17643"/>
                    </a:cubicBezTo>
                    <a:cubicBezTo>
                      <a:pt x="533704" y="11972"/>
                      <a:pt x="524896" y="6931"/>
                      <a:pt x="514732" y="4411"/>
                    </a:cubicBezTo>
                    <a:cubicBezTo>
                      <a:pt x="505924" y="1890"/>
                      <a:pt x="497116" y="0"/>
                      <a:pt x="487630" y="0"/>
                    </a:cubicBezTo>
                    <a:cubicBezTo>
                      <a:pt x="478144" y="0"/>
                      <a:pt x="468659" y="1260"/>
                      <a:pt x="460528" y="4411"/>
                    </a:cubicBezTo>
                    <a:cubicBezTo>
                      <a:pt x="450365" y="7561"/>
                      <a:pt x="441557" y="11972"/>
                      <a:pt x="433426" y="17643"/>
                    </a:cubicBezTo>
                    <a:cubicBezTo>
                      <a:pt x="430716" y="19533"/>
                      <a:pt x="429361" y="22054"/>
                      <a:pt x="428683" y="24574"/>
                    </a:cubicBezTo>
                    <a:lnTo>
                      <a:pt x="419875" y="61751"/>
                    </a:lnTo>
                    <a:lnTo>
                      <a:pt x="419875" y="61751"/>
                    </a:lnTo>
                    <a:lnTo>
                      <a:pt x="411067" y="24574"/>
                    </a:lnTo>
                    <a:cubicBezTo>
                      <a:pt x="410389" y="22054"/>
                      <a:pt x="409034" y="19533"/>
                      <a:pt x="406324" y="17643"/>
                    </a:cubicBezTo>
                    <a:cubicBezTo>
                      <a:pt x="398193" y="11972"/>
                      <a:pt x="389385" y="6931"/>
                      <a:pt x="379222" y="4411"/>
                    </a:cubicBezTo>
                    <a:cubicBezTo>
                      <a:pt x="370414" y="1890"/>
                      <a:pt x="361605" y="0"/>
                      <a:pt x="352120" y="0"/>
                    </a:cubicBezTo>
                    <a:cubicBezTo>
                      <a:pt x="342634" y="0"/>
                      <a:pt x="333148" y="1260"/>
                      <a:pt x="325017" y="4411"/>
                    </a:cubicBezTo>
                    <a:cubicBezTo>
                      <a:pt x="314854" y="7561"/>
                      <a:pt x="306046" y="11972"/>
                      <a:pt x="297915" y="17643"/>
                    </a:cubicBezTo>
                    <a:cubicBezTo>
                      <a:pt x="295205" y="19533"/>
                      <a:pt x="293850" y="22054"/>
                      <a:pt x="293172" y="24574"/>
                    </a:cubicBezTo>
                    <a:lnTo>
                      <a:pt x="284364" y="61121"/>
                    </a:lnTo>
                    <a:lnTo>
                      <a:pt x="284364" y="61751"/>
                    </a:lnTo>
                    <a:lnTo>
                      <a:pt x="275556" y="24574"/>
                    </a:lnTo>
                    <a:cubicBezTo>
                      <a:pt x="274878" y="22054"/>
                      <a:pt x="273523" y="19533"/>
                      <a:pt x="270813" y="17643"/>
                    </a:cubicBezTo>
                    <a:cubicBezTo>
                      <a:pt x="262683" y="11972"/>
                      <a:pt x="253874" y="6931"/>
                      <a:pt x="243711" y="4411"/>
                    </a:cubicBezTo>
                    <a:cubicBezTo>
                      <a:pt x="234903" y="1890"/>
                      <a:pt x="226095" y="0"/>
                      <a:pt x="216609" y="0"/>
                    </a:cubicBezTo>
                    <a:cubicBezTo>
                      <a:pt x="207123" y="0"/>
                      <a:pt x="197637" y="1260"/>
                      <a:pt x="189507" y="4411"/>
                    </a:cubicBezTo>
                    <a:cubicBezTo>
                      <a:pt x="179344" y="7561"/>
                      <a:pt x="170535" y="11972"/>
                      <a:pt x="162405" y="17643"/>
                    </a:cubicBezTo>
                    <a:cubicBezTo>
                      <a:pt x="159694" y="19533"/>
                      <a:pt x="158339" y="22054"/>
                      <a:pt x="157662" y="24574"/>
                    </a:cubicBezTo>
                    <a:lnTo>
                      <a:pt x="148854" y="61121"/>
                    </a:lnTo>
                    <a:lnTo>
                      <a:pt x="148854" y="61121"/>
                    </a:lnTo>
                    <a:lnTo>
                      <a:pt x="140045" y="24574"/>
                    </a:lnTo>
                    <a:cubicBezTo>
                      <a:pt x="139368" y="22054"/>
                      <a:pt x="138013" y="19533"/>
                      <a:pt x="135303" y="17643"/>
                    </a:cubicBezTo>
                    <a:cubicBezTo>
                      <a:pt x="127172" y="11972"/>
                      <a:pt x="118364" y="6931"/>
                      <a:pt x="108200" y="4411"/>
                    </a:cubicBezTo>
                    <a:cubicBezTo>
                      <a:pt x="99392" y="1890"/>
                      <a:pt x="90584" y="0"/>
                      <a:pt x="81098" y="0"/>
                    </a:cubicBezTo>
                    <a:cubicBezTo>
                      <a:pt x="71613" y="0"/>
                      <a:pt x="62127" y="1260"/>
                      <a:pt x="53996" y="4411"/>
                    </a:cubicBezTo>
                    <a:cubicBezTo>
                      <a:pt x="43833" y="7561"/>
                      <a:pt x="35025" y="11972"/>
                      <a:pt x="26894" y="17643"/>
                    </a:cubicBezTo>
                    <a:cubicBezTo>
                      <a:pt x="24184" y="19533"/>
                      <a:pt x="22829" y="22054"/>
                      <a:pt x="22151" y="24574"/>
                    </a:cubicBezTo>
                    <a:lnTo>
                      <a:pt x="469" y="115940"/>
                    </a:lnTo>
                    <a:cubicBezTo>
                      <a:pt x="-1563" y="122871"/>
                      <a:pt x="3180" y="130432"/>
                      <a:pt x="11310" y="131693"/>
                    </a:cubicBezTo>
                    <a:cubicBezTo>
                      <a:pt x="11988" y="131693"/>
                      <a:pt x="12665" y="131693"/>
                      <a:pt x="13343" y="131693"/>
                    </a:cubicBezTo>
                    <a:cubicBezTo>
                      <a:pt x="19441" y="131693"/>
                      <a:pt x="24861" y="127912"/>
                      <a:pt x="26894" y="121611"/>
                    </a:cubicBezTo>
                    <a:lnTo>
                      <a:pt x="47221" y="37807"/>
                    </a:lnTo>
                    <a:lnTo>
                      <a:pt x="47221" y="82544"/>
                    </a:lnTo>
                    <a:lnTo>
                      <a:pt x="26894" y="176430"/>
                    </a:lnTo>
                    <a:lnTo>
                      <a:pt x="47221" y="176430"/>
                    </a:lnTo>
                    <a:lnTo>
                      <a:pt x="47221" y="283549"/>
                    </a:lnTo>
                    <a:lnTo>
                      <a:pt x="74323" y="283549"/>
                    </a:lnTo>
                    <a:lnTo>
                      <a:pt x="74323" y="176430"/>
                    </a:lnTo>
                    <a:lnTo>
                      <a:pt x="87874" y="176430"/>
                    </a:lnTo>
                    <a:lnTo>
                      <a:pt x="87874" y="283549"/>
                    </a:lnTo>
                    <a:lnTo>
                      <a:pt x="114976" y="283549"/>
                    </a:lnTo>
                    <a:lnTo>
                      <a:pt x="114976" y="176430"/>
                    </a:lnTo>
                    <a:lnTo>
                      <a:pt x="135303" y="176430"/>
                    </a:lnTo>
                    <a:lnTo>
                      <a:pt x="114976" y="82544"/>
                    </a:lnTo>
                    <a:lnTo>
                      <a:pt x="114976" y="37807"/>
                    </a:lnTo>
                    <a:lnTo>
                      <a:pt x="135303" y="122241"/>
                    </a:lnTo>
                    <a:cubicBezTo>
                      <a:pt x="136658" y="127912"/>
                      <a:pt x="142078" y="132323"/>
                      <a:pt x="148176" y="132323"/>
                    </a:cubicBezTo>
                    <a:lnTo>
                      <a:pt x="148176" y="132323"/>
                    </a:lnTo>
                    <a:cubicBezTo>
                      <a:pt x="154274" y="132323"/>
                      <a:pt x="159694" y="128542"/>
                      <a:pt x="161050" y="122241"/>
                    </a:cubicBezTo>
                    <a:lnTo>
                      <a:pt x="182731" y="37807"/>
                    </a:lnTo>
                    <a:lnTo>
                      <a:pt x="182731" y="138624"/>
                    </a:lnTo>
                    <a:lnTo>
                      <a:pt x="182731" y="283549"/>
                    </a:lnTo>
                    <a:lnTo>
                      <a:pt x="209833" y="283549"/>
                    </a:lnTo>
                    <a:lnTo>
                      <a:pt x="209833" y="138624"/>
                    </a:lnTo>
                    <a:lnTo>
                      <a:pt x="223384" y="138624"/>
                    </a:lnTo>
                    <a:lnTo>
                      <a:pt x="223384" y="283549"/>
                    </a:lnTo>
                    <a:lnTo>
                      <a:pt x="250487" y="283549"/>
                    </a:lnTo>
                    <a:lnTo>
                      <a:pt x="250487" y="138624"/>
                    </a:lnTo>
                    <a:lnTo>
                      <a:pt x="250487" y="37807"/>
                    </a:lnTo>
                    <a:lnTo>
                      <a:pt x="270813" y="122241"/>
                    </a:lnTo>
                    <a:cubicBezTo>
                      <a:pt x="272168" y="127912"/>
                      <a:pt x="277589" y="132323"/>
                      <a:pt x="284364" y="132323"/>
                    </a:cubicBezTo>
                    <a:cubicBezTo>
                      <a:pt x="284364" y="132323"/>
                      <a:pt x="284364" y="132323"/>
                      <a:pt x="284364" y="132323"/>
                    </a:cubicBezTo>
                    <a:lnTo>
                      <a:pt x="284364" y="132323"/>
                    </a:lnTo>
                    <a:cubicBezTo>
                      <a:pt x="290462" y="132323"/>
                      <a:pt x="295883" y="128542"/>
                      <a:pt x="297238" y="122241"/>
                    </a:cubicBezTo>
                    <a:lnTo>
                      <a:pt x="318242" y="37807"/>
                    </a:lnTo>
                    <a:lnTo>
                      <a:pt x="318242" y="83174"/>
                    </a:lnTo>
                    <a:lnTo>
                      <a:pt x="297915" y="176430"/>
                    </a:lnTo>
                    <a:lnTo>
                      <a:pt x="318242" y="176430"/>
                    </a:lnTo>
                    <a:lnTo>
                      <a:pt x="318242" y="283549"/>
                    </a:lnTo>
                    <a:lnTo>
                      <a:pt x="345344" y="283549"/>
                    </a:lnTo>
                    <a:lnTo>
                      <a:pt x="345344" y="176430"/>
                    </a:lnTo>
                    <a:lnTo>
                      <a:pt x="358895" y="176430"/>
                    </a:lnTo>
                    <a:lnTo>
                      <a:pt x="358895" y="283549"/>
                    </a:lnTo>
                    <a:lnTo>
                      <a:pt x="385997" y="283549"/>
                    </a:lnTo>
                    <a:lnTo>
                      <a:pt x="385997" y="176430"/>
                    </a:lnTo>
                    <a:lnTo>
                      <a:pt x="406324" y="176430"/>
                    </a:lnTo>
                    <a:lnTo>
                      <a:pt x="385997" y="81914"/>
                    </a:lnTo>
                    <a:lnTo>
                      <a:pt x="385997" y="37807"/>
                    </a:lnTo>
                    <a:lnTo>
                      <a:pt x="406324" y="122241"/>
                    </a:lnTo>
                    <a:cubicBezTo>
                      <a:pt x="407679" y="127912"/>
                      <a:pt x="413099" y="132323"/>
                      <a:pt x="419875" y="132323"/>
                    </a:cubicBezTo>
                    <a:cubicBezTo>
                      <a:pt x="419875" y="132323"/>
                      <a:pt x="419875" y="132323"/>
                      <a:pt x="419875" y="132323"/>
                    </a:cubicBezTo>
                    <a:lnTo>
                      <a:pt x="419875" y="132323"/>
                    </a:lnTo>
                    <a:cubicBezTo>
                      <a:pt x="419875" y="132323"/>
                      <a:pt x="419875" y="132323"/>
                      <a:pt x="419875" y="132323"/>
                    </a:cubicBezTo>
                    <a:cubicBezTo>
                      <a:pt x="425973" y="132323"/>
                      <a:pt x="431393" y="128542"/>
                      <a:pt x="433426" y="122241"/>
                    </a:cubicBezTo>
                    <a:lnTo>
                      <a:pt x="453753" y="37807"/>
                    </a:lnTo>
                    <a:lnTo>
                      <a:pt x="453753" y="138624"/>
                    </a:lnTo>
                    <a:lnTo>
                      <a:pt x="453753" y="283549"/>
                    </a:lnTo>
                    <a:lnTo>
                      <a:pt x="480855" y="283549"/>
                    </a:lnTo>
                    <a:lnTo>
                      <a:pt x="480855" y="138624"/>
                    </a:lnTo>
                    <a:lnTo>
                      <a:pt x="494406" y="138624"/>
                    </a:lnTo>
                    <a:lnTo>
                      <a:pt x="494406" y="283549"/>
                    </a:lnTo>
                    <a:lnTo>
                      <a:pt x="521508" y="283549"/>
                    </a:lnTo>
                    <a:lnTo>
                      <a:pt x="521508" y="138624"/>
                    </a:lnTo>
                    <a:lnTo>
                      <a:pt x="521508" y="37807"/>
                    </a:lnTo>
                    <a:lnTo>
                      <a:pt x="541834" y="122241"/>
                    </a:lnTo>
                    <a:cubicBezTo>
                      <a:pt x="543190" y="127912"/>
                      <a:pt x="548610" y="132323"/>
                      <a:pt x="555386" y="132323"/>
                    </a:cubicBezTo>
                    <a:cubicBezTo>
                      <a:pt x="556741" y="132323"/>
                      <a:pt x="558773" y="132323"/>
                      <a:pt x="560128" y="131693"/>
                    </a:cubicBezTo>
                    <a:cubicBezTo>
                      <a:pt x="566226" y="129172"/>
                      <a:pt x="569614" y="122871"/>
                      <a:pt x="568259" y="116570"/>
                    </a:cubicBezTo>
                    <a:close/>
                  </a:path>
                </a:pathLst>
              </a:custGeom>
              <a:solidFill>
                <a:srgbClr val="FFC000"/>
              </a:solidFill>
              <a:ln w="674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740" name="Graphic 205" descr="Group">
              <a:extLst>
                <a:ext uri="{FF2B5EF4-FFF2-40B4-BE49-F238E27FC236}">
                  <a16:creationId xmlns:a16="http://schemas.microsoft.com/office/drawing/2014/main" id="{260E1F34-9E5A-4A60-8F0D-3A11678BFB91}"/>
                </a:ext>
              </a:extLst>
            </p:cNvPr>
            <p:cNvGrpSpPr/>
            <p:nvPr/>
          </p:nvGrpSpPr>
          <p:grpSpPr>
            <a:xfrm>
              <a:off x="3325171" y="679475"/>
              <a:ext cx="633129" cy="354585"/>
              <a:chOff x="7560077" y="594700"/>
              <a:chExt cx="633129" cy="354585"/>
            </a:xfrm>
          </p:grpSpPr>
          <p:sp>
            <p:nvSpPr>
              <p:cNvPr id="741" name="Freeform: Shape 740">
                <a:extLst>
                  <a:ext uri="{FF2B5EF4-FFF2-40B4-BE49-F238E27FC236}">
                    <a16:creationId xmlns:a16="http://schemas.microsoft.com/office/drawing/2014/main" id="{E185C300-386C-47FB-B998-78EE6368F3B3}"/>
                  </a:ext>
                </a:extLst>
              </p:cNvPr>
              <p:cNvSpPr/>
              <p:nvPr/>
            </p:nvSpPr>
            <p:spPr>
              <a:xfrm>
                <a:off x="8070923"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42" name="Freeform: Shape 741">
                <a:extLst>
                  <a:ext uri="{FF2B5EF4-FFF2-40B4-BE49-F238E27FC236}">
                    <a16:creationId xmlns:a16="http://schemas.microsoft.com/office/drawing/2014/main" id="{8B8B368E-FC80-461A-B0E6-051434AA0145}"/>
                  </a:ext>
                </a:extLst>
              </p:cNvPr>
              <p:cNvSpPr/>
              <p:nvPr/>
            </p:nvSpPr>
            <p:spPr>
              <a:xfrm>
                <a:off x="7613239"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43" name="Freeform: Shape 742">
                <a:extLst>
                  <a:ext uri="{FF2B5EF4-FFF2-40B4-BE49-F238E27FC236}">
                    <a16:creationId xmlns:a16="http://schemas.microsoft.com/office/drawing/2014/main" id="{7BAFE96B-97E5-4FCF-B9A5-00BE3290F7AB}"/>
                  </a:ext>
                </a:extLst>
              </p:cNvPr>
              <p:cNvSpPr/>
              <p:nvPr/>
            </p:nvSpPr>
            <p:spPr>
              <a:xfrm>
                <a:off x="7918361"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44" name="Freeform: Shape 743">
                <a:extLst>
                  <a:ext uri="{FF2B5EF4-FFF2-40B4-BE49-F238E27FC236}">
                    <a16:creationId xmlns:a16="http://schemas.microsoft.com/office/drawing/2014/main" id="{EC027C3E-5BC9-4177-A061-953392AA683F}"/>
                  </a:ext>
                </a:extLst>
              </p:cNvPr>
              <p:cNvSpPr/>
              <p:nvPr/>
            </p:nvSpPr>
            <p:spPr>
              <a:xfrm>
                <a:off x="7765800"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45" name="Freeform: Shape 744">
                <a:extLst>
                  <a:ext uri="{FF2B5EF4-FFF2-40B4-BE49-F238E27FC236}">
                    <a16:creationId xmlns:a16="http://schemas.microsoft.com/office/drawing/2014/main" id="{B41E1DDE-8A01-44D7-907B-B5A9AC1A5217}"/>
                  </a:ext>
                </a:extLst>
              </p:cNvPr>
              <p:cNvSpPr/>
              <p:nvPr/>
            </p:nvSpPr>
            <p:spPr>
              <a:xfrm>
                <a:off x="7560077" y="664350"/>
                <a:ext cx="633129" cy="284935"/>
              </a:xfrm>
              <a:custGeom>
                <a:avLst/>
                <a:gdLst>
                  <a:gd name="connsiteX0" fmla="*/ 639760 w 633129"/>
                  <a:gd name="connsiteY0" fmla="*/ 117140 h 284934"/>
                  <a:gd name="connsiteX1" fmla="*/ 615350 w 633129"/>
                  <a:gd name="connsiteY1" fmla="*/ 24694 h 284934"/>
                  <a:gd name="connsiteX2" fmla="*/ 610011 w 633129"/>
                  <a:gd name="connsiteY2" fmla="*/ 17729 h 284934"/>
                  <a:gd name="connsiteX3" fmla="*/ 579499 w 633129"/>
                  <a:gd name="connsiteY3" fmla="*/ 4432 h 284934"/>
                  <a:gd name="connsiteX4" fmla="*/ 548986 w 633129"/>
                  <a:gd name="connsiteY4" fmla="*/ 0 h 284934"/>
                  <a:gd name="connsiteX5" fmla="*/ 518474 w 633129"/>
                  <a:gd name="connsiteY5" fmla="*/ 4432 h 284934"/>
                  <a:gd name="connsiteX6" fmla="*/ 487962 w 633129"/>
                  <a:gd name="connsiteY6" fmla="*/ 17729 h 284934"/>
                  <a:gd name="connsiteX7" fmla="*/ 482622 w 633129"/>
                  <a:gd name="connsiteY7" fmla="*/ 24694 h 284934"/>
                  <a:gd name="connsiteX8" fmla="*/ 472706 w 633129"/>
                  <a:gd name="connsiteY8" fmla="*/ 62052 h 284934"/>
                  <a:gd name="connsiteX9" fmla="*/ 472706 w 633129"/>
                  <a:gd name="connsiteY9" fmla="*/ 62052 h 284934"/>
                  <a:gd name="connsiteX10" fmla="*/ 462789 w 633129"/>
                  <a:gd name="connsiteY10" fmla="*/ 24694 h 284934"/>
                  <a:gd name="connsiteX11" fmla="*/ 457450 w 633129"/>
                  <a:gd name="connsiteY11" fmla="*/ 17729 h 284934"/>
                  <a:gd name="connsiteX12" fmla="*/ 426937 w 633129"/>
                  <a:gd name="connsiteY12" fmla="*/ 4432 h 284934"/>
                  <a:gd name="connsiteX13" fmla="*/ 396425 w 633129"/>
                  <a:gd name="connsiteY13" fmla="*/ 0 h 284934"/>
                  <a:gd name="connsiteX14" fmla="*/ 365913 w 633129"/>
                  <a:gd name="connsiteY14" fmla="*/ 4432 h 284934"/>
                  <a:gd name="connsiteX15" fmla="*/ 335401 w 633129"/>
                  <a:gd name="connsiteY15" fmla="*/ 17729 h 284934"/>
                  <a:gd name="connsiteX16" fmla="*/ 330061 w 633129"/>
                  <a:gd name="connsiteY16" fmla="*/ 24694 h 284934"/>
                  <a:gd name="connsiteX17" fmla="*/ 320144 w 633129"/>
                  <a:gd name="connsiteY17" fmla="*/ 61419 h 284934"/>
                  <a:gd name="connsiteX18" fmla="*/ 320144 w 633129"/>
                  <a:gd name="connsiteY18" fmla="*/ 62052 h 284934"/>
                  <a:gd name="connsiteX19" fmla="*/ 310228 w 633129"/>
                  <a:gd name="connsiteY19" fmla="*/ 24694 h 284934"/>
                  <a:gd name="connsiteX20" fmla="*/ 304888 w 633129"/>
                  <a:gd name="connsiteY20" fmla="*/ 17729 h 284934"/>
                  <a:gd name="connsiteX21" fmla="*/ 274376 w 633129"/>
                  <a:gd name="connsiteY21" fmla="*/ 4432 h 284934"/>
                  <a:gd name="connsiteX22" fmla="*/ 243864 w 633129"/>
                  <a:gd name="connsiteY22" fmla="*/ 0 h 284934"/>
                  <a:gd name="connsiteX23" fmla="*/ 213352 w 633129"/>
                  <a:gd name="connsiteY23" fmla="*/ 4432 h 284934"/>
                  <a:gd name="connsiteX24" fmla="*/ 182839 w 633129"/>
                  <a:gd name="connsiteY24" fmla="*/ 17729 h 284934"/>
                  <a:gd name="connsiteX25" fmla="*/ 177500 w 633129"/>
                  <a:gd name="connsiteY25" fmla="*/ 24694 h 284934"/>
                  <a:gd name="connsiteX26" fmla="*/ 167583 w 633129"/>
                  <a:gd name="connsiteY26" fmla="*/ 61419 h 284934"/>
                  <a:gd name="connsiteX27" fmla="*/ 167583 w 633129"/>
                  <a:gd name="connsiteY27" fmla="*/ 61419 h 284934"/>
                  <a:gd name="connsiteX28" fmla="*/ 157667 w 633129"/>
                  <a:gd name="connsiteY28" fmla="*/ 24694 h 284934"/>
                  <a:gd name="connsiteX29" fmla="*/ 152327 w 633129"/>
                  <a:gd name="connsiteY29" fmla="*/ 17729 h 284934"/>
                  <a:gd name="connsiteX30" fmla="*/ 121815 w 633129"/>
                  <a:gd name="connsiteY30" fmla="*/ 4432 h 284934"/>
                  <a:gd name="connsiteX31" fmla="*/ 91302 w 633129"/>
                  <a:gd name="connsiteY31" fmla="*/ 0 h 284934"/>
                  <a:gd name="connsiteX32" fmla="*/ 60790 w 633129"/>
                  <a:gd name="connsiteY32" fmla="*/ 4432 h 284934"/>
                  <a:gd name="connsiteX33" fmla="*/ 30278 w 633129"/>
                  <a:gd name="connsiteY33" fmla="*/ 17729 h 284934"/>
                  <a:gd name="connsiteX34" fmla="*/ 24938 w 633129"/>
                  <a:gd name="connsiteY34" fmla="*/ 24694 h 284934"/>
                  <a:gd name="connsiteX35" fmla="*/ 529 w 633129"/>
                  <a:gd name="connsiteY35" fmla="*/ 116507 h 284934"/>
                  <a:gd name="connsiteX36" fmla="*/ 12733 w 633129"/>
                  <a:gd name="connsiteY36" fmla="*/ 132336 h 284934"/>
                  <a:gd name="connsiteX37" fmla="*/ 15022 w 633129"/>
                  <a:gd name="connsiteY37" fmla="*/ 132336 h 284934"/>
                  <a:gd name="connsiteX38" fmla="*/ 30278 w 633129"/>
                  <a:gd name="connsiteY38" fmla="*/ 122205 h 284934"/>
                  <a:gd name="connsiteX39" fmla="*/ 53162 w 633129"/>
                  <a:gd name="connsiteY39" fmla="*/ 37991 h 284934"/>
                  <a:gd name="connsiteX40" fmla="*/ 53162 w 633129"/>
                  <a:gd name="connsiteY40" fmla="*/ 82948 h 284934"/>
                  <a:gd name="connsiteX41" fmla="*/ 30278 w 633129"/>
                  <a:gd name="connsiteY41" fmla="*/ 177293 h 284934"/>
                  <a:gd name="connsiteX42" fmla="*/ 53162 w 633129"/>
                  <a:gd name="connsiteY42" fmla="*/ 177293 h 284934"/>
                  <a:gd name="connsiteX43" fmla="*/ 53162 w 633129"/>
                  <a:gd name="connsiteY43" fmla="*/ 284935 h 284934"/>
                  <a:gd name="connsiteX44" fmla="*/ 83674 w 633129"/>
                  <a:gd name="connsiteY44" fmla="*/ 284935 h 284934"/>
                  <a:gd name="connsiteX45" fmla="*/ 83674 w 633129"/>
                  <a:gd name="connsiteY45" fmla="*/ 177293 h 284934"/>
                  <a:gd name="connsiteX46" fmla="*/ 98931 w 633129"/>
                  <a:gd name="connsiteY46" fmla="*/ 177293 h 284934"/>
                  <a:gd name="connsiteX47" fmla="*/ 98931 w 633129"/>
                  <a:gd name="connsiteY47" fmla="*/ 284935 h 284934"/>
                  <a:gd name="connsiteX48" fmla="*/ 129443 w 633129"/>
                  <a:gd name="connsiteY48" fmla="*/ 284935 h 284934"/>
                  <a:gd name="connsiteX49" fmla="*/ 129443 w 633129"/>
                  <a:gd name="connsiteY49" fmla="*/ 177293 h 284934"/>
                  <a:gd name="connsiteX50" fmla="*/ 152327 w 633129"/>
                  <a:gd name="connsiteY50" fmla="*/ 177293 h 284934"/>
                  <a:gd name="connsiteX51" fmla="*/ 129443 w 633129"/>
                  <a:gd name="connsiteY51" fmla="*/ 82948 h 284934"/>
                  <a:gd name="connsiteX52" fmla="*/ 129443 w 633129"/>
                  <a:gd name="connsiteY52" fmla="*/ 37991 h 284934"/>
                  <a:gd name="connsiteX53" fmla="*/ 152327 w 633129"/>
                  <a:gd name="connsiteY53" fmla="*/ 122839 h 284934"/>
                  <a:gd name="connsiteX54" fmla="*/ 166820 w 633129"/>
                  <a:gd name="connsiteY54" fmla="*/ 132970 h 284934"/>
                  <a:gd name="connsiteX55" fmla="*/ 166820 w 633129"/>
                  <a:gd name="connsiteY55" fmla="*/ 132970 h 284934"/>
                  <a:gd name="connsiteX56" fmla="*/ 181314 w 633129"/>
                  <a:gd name="connsiteY56" fmla="*/ 122839 h 284934"/>
                  <a:gd name="connsiteX57" fmla="*/ 205723 w 633129"/>
                  <a:gd name="connsiteY57" fmla="*/ 37991 h 284934"/>
                  <a:gd name="connsiteX58" fmla="*/ 205723 w 633129"/>
                  <a:gd name="connsiteY58" fmla="*/ 139301 h 284934"/>
                  <a:gd name="connsiteX59" fmla="*/ 205723 w 633129"/>
                  <a:gd name="connsiteY59" fmla="*/ 284935 h 284934"/>
                  <a:gd name="connsiteX60" fmla="*/ 236236 w 633129"/>
                  <a:gd name="connsiteY60" fmla="*/ 284935 h 284934"/>
                  <a:gd name="connsiteX61" fmla="*/ 236236 w 633129"/>
                  <a:gd name="connsiteY61" fmla="*/ 139301 h 284934"/>
                  <a:gd name="connsiteX62" fmla="*/ 251492 w 633129"/>
                  <a:gd name="connsiteY62" fmla="*/ 139301 h 284934"/>
                  <a:gd name="connsiteX63" fmla="*/ 251492 w 633129"/>
                  <a:gd name="connsiteY63" fmla="*/ 284935 h 284934"/>
                  <a:gd name="connsiteX64" fmla="*/ 282004 w 633129"/>
                  <a:gd name="connsiteY64" fmla="*/ 284935 h 284934"/>
                  <a:gd name="connsiteX65" fmla="*/ 282004 w 633129"/>
                  <a:gd name="connsiteY65" fmla="*/ 139301 h 284934"/>
                  <a:gd name="connsiteX66" fmla="*/ 282004 w 633129"/>
                  <a:gd name="connsiteY66" fmla="*/ 37991 h 284934"/>
                  <a:gd name="connsiteX67" fmla="*/ 304888 w 633129"/>
                  <a:gd name="connsiteY67" fmla="*/ 122839 h 284934"/>
                  <a:gd name="connsiteX68" fmla="*/ 320144 w 633129"/>
                  <a:gd name="connsiteY68" fmla="*/ 132970 h 284934"/>
                  <a:gd name="connsiteX69" fmla="*/ 320144 w 633129"/>
                  <a:gd name="connsiteY69" fmla="*/ 132970 h 284934"/>
                  <a:gd name="connsiteX70" fmla="*/ 320144 w 633129"/>
                  <a:gd name="connsiteY70" fmla="*/ 132970 h 284934"/>
                  <a:gd name="connsiteX71" fmla="*/ 334638 w 633129"/>
                  <a:gd name="connsiteY71" fmla="*/ 122839 h 284934"/>
                  <a:gd name="connsiteX72" fmla="*/ 358285 w 633129"/>
                  <a:gd name="connsiteY72" fmla="*/ 37991 h 284934"/>
                  <a:gd name="connsiteX73" fmla="*/ 358285 w 633129"/>
                  <a:gd name="connsiteY73" fmla="*/ 83581 h 284934"/>
                  <a:gd name="connsiteX74" fmla="*/ 335401 w 633129"/>
                  <a:gd name="connsiteY74" fmla="*/ 177293 h 284934"/>
                  <a:gd name="connsiteX75" fmla="*/ 358285 w 633129"/>
                  <a:gd name="connsiteY75" fmla="*/ 177293 h 284934"/>
                  <a:gd name="connsiteX76" fmla="*/ 358285 w 633129"/>
                  <a:gd name="connsiteY76" fmla="*/ 284935 h 284934"/>
                  <a:gd name="connsiteX77" fmla="*/ 388797 w 633129"/>
                  <a:gd name="connsiteY77" fmla="*/ 284935 h 284934"/>
                  <a:gd name="connsiteX78" fmla="*/ 388797 w 633129"/>
                  <a:gd name="connsiteY78" fmla="*/ 177293 h 284934"/>
                  <a:gd name="connsiteX79" fmla="*/ 404053 w 633129"/>
                  <a:gd name="connsiteY79" fmla="*/ 177293 h 284934"/>
                  <a:gd name="connsiteX80" fmla="*/ 404053 w 633129"/>
                  <a:gd name="connsiteY80" fmla="*/ 284935 h 284934"/>
                  <a:gd name="connsiteX81" fmla="*/ 434565 w 633129"/>
                  <a:gd name="connsiteY81" fmla="*/ 284935 h 284934"/>
                  <a:gd name="connsiteX82" fmla="*/ 434565 w 633129"/>
                  <a:gd name="connsiteY82" fmla="*/ 177293 h 284934"/>
                  <a:gd name="connsiteX83" fmla="*/ 457450 w 633129"/>
                  <a:gd name="connsiteY83" fmla="*/ 177293 h 284934"/>
                  <a:gd name="connsiteX84" fmla="*/ 434565 w 633129"/>
                  <a:gd name="connsiteY84" fmla="*/ 82315 h 284934"/>
                  <a:gd name="connsiteX85" fmla="*/ 434565 w 633129"/>
                  <a:gd name="connsiteY85" fmla="*/ 37991 h 284934"/>
                  <a:gd name="connsiteX86" fmla="*/ 457450 w 633129"/>
                  <a:gd name="connsiteY86" fmla="*/ 122839 h 284934"/>
                  <a:gd name="connsiteX87" fmla="*/ 472706 w 633129"/>
                  <a:gd name="connsiteY87" fmla="*/ 132970 h 284934"/>
                  <a:gd name="connsiteX88" fmla="*/ 472706 w 633129"/>
                  <a:gd name="connsiteY88" fmla="*/ 132970 h 284934"/>
                  <a:gd name="connsiteX89" fmla="*/ 472706 w 633129"/>
                  <a:gd name="connsiteY89" fmla="*/ 132970 h 284934"/>
                  <a:gd name="connsiteX90" fmla="*/ 472706 w 633129"/>
                  <a:gd name="connsiteY90" fmla="*/ 132970 h 284934"/>
                  <a:gd name="connsiteX91" fmla="*/ 487962 w 633129"/>
                  <a:gd name="connsiteY91" fmla="*/ 122839 h 284934"/>
                  <a:gd name="connsiteX92" fmla="*/ 510846 w 633129"/>
                  <a:gd name="connsiteY92" fmla="*/ 37991 h 284934"/>
                  <a:gd name="connsiteX93" fmla="*/ 510846 w 633129"/>
                  <a:gd name="connsiteY93" fmla="*/ 139301 h 284934"/>
                  <a:gd name="connsiteX94" fmla="*/ 510846 w 633129"/>
                  <a:gd name="connsiteY94" fmla="*/ 284935 h 284934"/>
                  <a:gd name="connsiteX95" fmla="*/ 541358 w 633129"/>
                  <a:gd name="connsiteY95" fmla="*/ 284935 h 284934"/>
                  <a:gd name="connsiteX96" fmla="*/ 541358 w 633129"/>
                  <a:gd name="connsiteY96" fmla="*/ 139301 h 284934"/>
                  <a:gd name="connsiteX97" fmla="*/ 556614 w 633129"/>
                  <a:gd name="connsiteY97" fmla="*/ 139301 h 284934"/>
                  <a:gd name="connsiteX98" fmla="*/ 556614 w 633129"/>
                  <a:gd name="connsiteY98" fmla="*/ 284935 h 284934"/>
                  <a:gd name="connsiteX99" fmla="*/ 587127 w 633129"/>
                  <a:gd name="connsiteY99" fmla="*/ 284935 h 284934"/>
                  <a:gd name="connsiteX100" fmla="*/ 587127 w 633129"/>
                  <a:gd name="connsiteY100" fmla="*/ 139301 h 284934"/>
                  <a:gd name="connsiteX101" fmla="*/ 587127 w 633129"/>
                  <a:gd name="connsiteY101" fmla="*/ 37991 h 284934"/>
                  <a:gd name="connsiteX102" fmla="*/ 610011 w 633129"/>
                  <a:gd name="connsiteY102" fmla="*/ 122839 h 284934"/>
                  <a:gd name="connsiteX103" fmla="*/ 625267 w 633129"/>
                  <a:gd name="connsiteY103" fmla="*/ 132970 h 284934"/>
                  <a:gd name="connsiteX104" fmla="*/ 630607 w 633129"/>
                  <a:gd name="connsiteY104" fmla="*/ 132336 h 284934"/>
                  <a:gd name="connsiteX105" fmla="*/ 639760 w 633129"/>
                  <a:gd name="connsiteY105" fmla="*/ 117140 h 2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33129" h="284934">
                    <a:moveTo>
                      <a:pt x="639760" y="117140"/>
                    </a:moveTo>
                    <a:lnTo>
                      <a:pt x="615350" y="24694"/>
                    </a:lnTo>
                    <a:cubicBezTo>
                      <a:pt x="614588" y="22162"/>
                      <a:pt x="613062" y="19629"/>
                      <a:pt x="610011" y="17729"/>
                    </a:cubicBezTo>
                    <a:cubicBezTo>
                      <a:pt x="600857" y="12031"/>
                      <a:pt x="590941" y="6965"/>
                      <a:pt x="579499" y="4432"/>
                    </a:cubicBezTo>
                    <a:cubicBezTo>
                      <a:pt x="569582" y="1900"/>
                      <a:pt x="559666" y="0"/>
                      <a:pt x="548986" y="0"/>
                    </a:cubicBezTo>
                    <a:cubicBezTo>
                      <a:pt x="538307" y="0"/>
                      <a:pt x="527628" y="1266"/>
                      <a:pt x="518474" y="4432"/>
                    </a:cubicBezTo>
                    <a:cubicBezTo>
                      <a:pt x="507032" y="7598"/>
                      <a:pt x="497115" y="12031"/>
                      <a:pt x="487962" y="17729"/>
                    </a:cubicBezTo>
                    <a:cubicBezTo>
                      <a:pt x="484911" y="19629"/>
                      <a:pt x="483385" y="22162"/>
                      <a:pt x="482622" y="24694"/>
                    </a:cubicBezTo>
                    <a:lnTo>
                      <a:pt x="472706" y="62052"/>
                    </a:lnTo>
                    <a:lnTo>
                      <a:pt x="472706" y="62052"/>
                    </a:lnTo>
                    <a:lnTo>
                      <a:pt x="462789" y="24694"/>
                    </a:lnTo>
                    <a:cubicBezTo>
                      <a:pt x="462026" y="22162"/>
                      <a:pt x="460501" y="19629"/>
                      <a:pt x="457450" y="17729"/>
                    </a:cubicBezTo>
                    <a:cubicBezTo>
                      <a:pt x="448296" y="12031"/>
                      <a:pt x="438379" y="6965"/>
                      <a:pt x="426937" y="4432"/>
                    </a:cubicBezTo>
                    <a:cubicBezTo>
                      <a:pt x="417021" y="1900"/>
                      <a:pt x="407104" y="0"/>
                      <a:pt x="396425" y="0"/>
                    </a:cubicBezTo>
                    <a:cubicBezTo>
                      <a:pt x="385746" y="0"/>
                      <a:pt x="375066" y="1266"/>
                      <a:pt x="365913" y="4432"/>
                    </a:cubicBezTo>
                    <a:cubicBezTo>
                      <a:pt x="354471" y="7598"/>
                      <a:pt x="344554" y="12031"/>
                      <a:pt x="335401" y="17729"/>
                    </a:cubicBezTo>
                    <a:cubicBezTo>
                      <a:pt x="332349" y="19629"/>
                      <a:pt x="330824" y="22162"/>
                      <a:pt x="330061" y="24694"/>
                    </a:cubicBezTo>
                    <a:lnTo>
                      <a:pt x="320144" y="61419"/>
                    </a:lnTo>
                    <a:lnTo>
                      <a:pt x="320144" y="62052"/>
                    </a:lnTo>
                    <a:lnTo>
                      <a:pt x="310228" y="24694"/>
                    </a:lnTo>
                    <a:cubicBezTo>
                      <a:pt x="309465" y="22162"/>
                      <a:pt x="307939" y="19629"/>
                      <a:pt x="304888" y="17729"/>
                    </a:cubicBezTo>
                    <a:cubicBezTo>
                      <a:pt x="295735" y="12031"/>
                      <a:pt x="285818" y="6965"/>
                      <a:pt x="274376" y="4432"/>
                    </a:cubicBezTo>
                    <a:cubicBezTo>
                      <a:pt x="264460" y="1900"/>
                      <a:pt x="254543" y="0"/>
                      <a:pt x="243864" y="0"/>
                    </a:cubicBezTo>
                    <a:cubicBezTo>
                      <a:pt x="233184" y="0"/>
                      <a:pt x="222505" y="1266"/>
                      <a:pt x="213352" y="4432"/>
                    </a:cubicBezTo>
                    <a:cubicBezTo>
                      <a:pt x="201909" y="7598"/>
                      <a:pt x="191993" y="12031"/>
                      <a:pt x="182839" y="17729"/>
                    </a:cubicBezTo>
                    <a:cubicBezTo>
                      <a:pt x="179788" y="19629"/>
                      <a:pt x="178262" y="22162"/>
                      <a:pt x="177500" y="24694"/>
                    </a:cubicBezTo>
                    <a:lnTo>
                      <a:pt x="167583" y="61419"/>
                    </a:lnTo>
                    <a:lnTo>
                      <a:pt x="167583" y="61419"/>
                    </a:lnTo>
                    <a:lnTo>
                      <a:pt x="157667" y="24694"/>
                    </a:lnTo>
                    <a:cubicBezTo>
                      <a:pt x="156904" y="22162"/>
                      <a:pt x="155378" y="19629"/>
                      <a:pt x="152327" y="17729"/>
                    </a:cubicBezTo>
                    <a:cubicBezTo>
                      <a:pt x="143173" y="12031"/>
                      <a:pt x="133257" y="6965"/>
                      <a:pt x="121815" y="4432"/>
                    </a:cubicBezTo>
                    <a:cubicBezTo>
                      <a:pt x="111898" y="1900"/>
                      <a:pt x="101982" y="0"/>
                      <a:pt x="91302" y="0"/>
                    </a:cubicBezTo>
                    <a:cubicBezTo>
                      <a:pt x="80623" y="0"/>
                      <a:pt x="69944" y="1266"/>
                      <a:pt x="60790" y="4432"/>
                    </a:cubicBezTo>
                    <a:cubicBezTo>
                      <a:pt x="49348" y="7598"/>
                      <a:pt x="39432" y="12031"/>
                      <a:pt x="30278" y="17729"/>
                    </a:cubicBezTo>
                    <a:cubicBezTo>
                      <a:pt x="27227" y="19629"/>
                      <a:pt x="25701" y="22162"/>
                      <a:pt x="24938" y="24694"/>
                    </a:cubicBezTo>
                    <a:lnTo>
                      <a:pt x="529" y="116507"/>
                    </a:lnTo>
                    <a:cubicBezTo>
                      <a:pt x="-1760" y="123472"/>
                      <a:pt x="3580" y="131070"/>
                      <a:pt x="12733" y="132336"/>
                    </a:cubicBezTo>
                    <a:cubicBezTo>
                      <a:pt x="13496" y="132336"/>
                      <a:pt x="14259" y="132336"/>
                      <a:pt x="15022" y="132336"/>
                    </a:cubicBezTo>
                    <a:cubicBezTo>
                      <a:pt x="21887" y="132336"/>
                      <a:pt x="27990" y="128537"/>
                      <a:pt x="30278" y="122205"/>
                    </a:cubicBezTo>
                    <a:lnTo>
                      <a:pt x="53162" y="37991"/>
                    </a:lnTo>
                    <a:lnTo>
                      <a:pt x="53162" y="82948"/>
                    </a:lnTo>
                    <a:lnTo>
                      <a:pt x="30278" y="177293"/>
                    </a:lnTo>
                    <a:lnTo>
                      <a:pt x="53162" y="177293"/>
                    </a:lnTo>
                    <a:lnTo>
                      <a:pt x="53162" y="284935"/>
                    </a:lnTo>
                    <a:lnTo>
                      <a:pt x="83674" y="284935"/>
                    </a:lnTo>
                    <a:lnTo>
                      <a:pt x="83674" y="177293"/>
                    </a:lnTo>
                    <a:lnTo>
                      <a:pt x="98931" y="177293"/>
                    </a:lnTo>
                    <a:lnTo>
                      <a:pt x="98931" y="284935"/>
                    </a:lnTo>
                    <a:lnTo>
                      <a:pt x="129443" y="284935"/>
                    </a:lnTo>
                    <a:lnTo>
                      <a:pt x="129443" y="177293"/>
                    </a:lnTo>
                    <a:lnTo>
                      <a:pt x="152327" y="177293"/>
                    </a:lnTo>
                    <a:lnTo>
                      <a:pt x="129443" y="82948"/>
                    </a:lnTo>
                    <a:lnTo>
                      <a:pt x="129443" y="37991"/>
                    </a:lnTo>
                    <a:lnTo>
                      <a:pt x="152327" y="122839"/>
                    </a:lnTo>
                    <a:cubicBezTo>
                      <a:pt x="153853" y="128537"/>
                      <a:pt x="159955" y="132970"/>
                      <a:pt x="166820" y="132970"/>
                    </a:cubicBezTo>
                    <a:lnTo>
                      <a:pt x="166820" y="132970"/>
                    </a:lnTo>
                    <a:cubicBezTo>
                      <a:pt x="173686" y="132970"/>
                      <a:pt x="179788" y="129170"/>
                      <a:pt x="181314" y="122839"/>
                    </a:cubicBezTo>
                    <a:lnTo>
                      <a:pt x="205723" y="37991"/>
                    </a:lnTo>
                    <a:lnTo>
                      <a:pt x="205723" y="139301"/>
                    </a:lnTo>
                    <a:lnTo>
                      <a:pt x="205723" y="284935"/>
                    </a:lnTo>
                    <a:lnTo>
                      <a:pt x="236236" y="284935"/>
                    </a:lnTo>
                    <a:lnTo>
                      <a:pt x="236236" y="139301"/>
                    </a:lnTo>
                    <a:lnTo>
                      <a:pt x="251492" y="139301"/>
                    </a:lnTo>
                    <a:lnTo>
                      <a:pt x="251492" y="284935"/>
                    </a:lnTo>
                    <a:lnTo>
                      <a:pt x="282004" y="284935"/>
                    </a:lnTo>
                    <a:lnTo>
                      <a:pt x="282004" y="139301"/>
                    </a:lnTo>
                    <a:lnTo>
                      <a:pt x="282004" y="37991"/>
                    </a:lnTo>
                    <a:lnTo>
                      <a:pt x="304888" y="122839"/>
                    </a:lnTo>
                    <a:cubicBezTo>
                      <a:pt x="306414" y="128537"/>
                      <a:pt x="312516" y="132970"/>
                      <a:pt x="320144" y="132970"/>
                    </a:cubicBezTo>
                    <a:cubicBezTo>
                      <a:pt x="320144" y="132970"/>
                      <a:pt x="320144" y="132970"/>
                      <a:pt x="320144" y="132970"/>
                    </a:cubicBezTo>
                    <a:lnTo>
                      <a:pt x="320144" y="132970"/>
                    </a:lnTo>
                    <a:cubicBezTo>
                      <a:pt x="327010" y="132970"/>
                      <a:pt x="333112" y="129170"/>
                      <a:pt x="334638" y="122839"/>
                    </a:cubicBezTo>
                    <a:lnTo>
                      <a:pt x="358285" y="37991"/>
                    </a:lnTo>
                    <a:lnTo>
                      <a:pt x="358285" y="83581"/>
                    </a:lnTo>
                    <a:lnTo>
                      <a:pt x="335401" y="177293"/>
                    </a:lnTo>
                    <a:lnTo>
                      <a:pt x="358285" y="177293"/>
                    </a:lnTo>
                    <a:lnTo>
                      <a:pt x="358285" y="284935"/>
                    </a:lnTo>
                    <a:lnTo>
                      <a:pt x="388797" y="284935"/>
                    </a:lnTo>
                    <a:lnTo>
                      <a:pt x="388797" y="177293"/>
                    </a:lnTo>
                    <a:lnTo>
                      <a:pt x="404053" y="177293"/>
                    </a:lnTo>
                    <a:lnTo>
                      <a:pt x="404053" y="284935"/>
                    </a:lnTo>
                    <a:lnTo>
                      <a:pt x="434565" y="284935"/>
                    </a:lnTo>
                    <a:lnTo>
                      <a:pt x="434565" y="177293"/>
                    </a:lnTo>
                    <a:lnTo>
                      <a:pt x="457450" y="177293"/>
                    </a:lnTo>
                    <a:lnTo>
                      <a:pt x="434565" y="82315"/>
                    </a:lnTo>
                    <a:lnTo>
                      <a:pt x="434565" y="37991"/>
                    </a:lnTo>
                    <a:lnTo>
                      <a:pt x="457450" y="122839"/>
                    </a:lnTo>
                    <a:cubicBezTo>
                      <a:pt x="458975" y="128537"/>
                      <a:pt x="465078" y="132970"/>
                      <a:pt x="472706" y="132970"/>
                    </a:cubicBezTo>
                    <a:cubicBezTo>
                      <a:pt x="472706" y="132970"/>
                      <a:pt x="472706" y="132970"/>
                      <a:pt x="472706" y="132970"/>
                    </a:cubicBezTo>
                    <a:lnTo>
                      <a:pt x="472706" y="132970"/>
                    </a:lnTo>
                    <a:cubicBezTo>
                      <a:pt x="472706" y="132970"/>
                      <a:pt x="472706" y="132970"/>
                      <a:pt x="472706" y="132970"/>
                    </a:cubicBezTo>
                    <a:cubicBezTo>
                      <a:pt x="479571" y="132970"/>
                      <a:pt x="485673" y="129170"/>
                      <a:pt x="487962" y="122839"/>
                    </a:cubicBezTo>
                    <a:lnTo>
                      <a:pt x="510846" y="37991"/>
                    </a:lnTo>
                    <a:lnTo>
                      <a:pt x="510846" y="139301"/>
                    </a:lnTo>
                    <a:lnTo>
                      <a:pt x="510846" y="284935"/>
                    </a:lnTo>
                    <a:lnTo>
                      <a:pt x="541358" y="284935"/>
                    </a:lnTo>
                    <a:lnTo>
                      <a:pt x="541358" y="139301"/>
                    </a:lnTo>
                    <a:lnTo>
                      <a:pt x="556614" y="139301"/>
                    </a:lnTo>
                    <a:lnTo>
                      <a:pt x="556614" y="284935"/>
                    </a:lnTo>
                    <a:lnTo>
                      <a:pt x="587127" y="284935"/>
                    </a:lnTo>
                    <a:lnTo>
                      <a:pt x="587127" y="139301"/>
                    </a:lnTo>
                    <a:lnTo>
                      <a:pt x="587127" y="37991"/>
                    </a:lnTo>
                    <a:lnTo>
                      <a:pt x="610011" y="122839"/>
                    </a:lnTo>
                    <a:cubicBezTo>
                      <a:pt x="611536" y="128537"/>
                      <a:pt x="617639" y="132970"/>
                      <a:pt x="625267" y="132970"/>
                    </a:cubicBezTo>
                    <a:cubicBezTo>
                      <a:pt x="626792" y="132970"/>
                      <a:pt x="629081" y="132970"/>
                      <a:pt x="630607" y="132336"/>
                    </a:cubicBezTo>
                    <a:cubicBezTo>
                      <a:pt x="637472" y="129804"/>
                      <a:pt x="641286" y="123472"/>
                      <a:pt x="639760" y="117140"/>
                    </a:cubicBezTo>
                    <a:close/>
                  </a:path>
                </a:pathLst>
              </a:custGeom>
              <a:solidFill>
                <a:srgbClr val="FFC000"/>
              </a:solidFill>
              <a:ln w="7541"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746" name="Graphic 214" descr="Paper">
              <a:extLst>
                <a:ext uri="{FF2B5EF4-FFF2-40B4-BE49-F238E27FC236}">
                  <a16:creationId xmlns:a16="http://schemas.microsoft.com/office/drawing/2014/main" id="{6E0198D7-AF39-41DD-A110-71546DD338DC}"/>
                </a:ext>
              </a:extLst>
            </p:cNvPr>
            <p:cNvSpPr/>
            <p:nvPr/>
          </p:nvSpPr>
          <p:spPr>
            <a:xfrm>
              <a:off x="1052058" y="2335135"/>
              <a:ext cx="202134" cy="216499"/>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nvGrpSpPr>
            <p:cNvPr id="747" name="Graphic 215" descr="Document">
              <a:extLst>
                <a:ext uri="{FF2B5EF4-FFF2-40B4-BE49-F238E27FC236}">
                  <a16:creationId xmlns:a16="http://schemas.microsoft.com/office/drawing/2014/main" id="{571DF5B7-C29F-4886-9E6F-F9C5098A207D}"/>
                </a:ext>
              </a:extLst>
            </p:cNvPr>
            <p:cNvGrpSpPr/>
            <p:nvPr/>
          </p:nvGrpSpPr>
          <p:grpSpPr>
            <a:xfrm>
              <a:off x="2171727" y="2020820"/>
              <a:ext cx="202134" cy="216499"/>
              <a:chOff x="6545039" y="2432200"/>
              <a:chExt cx="202134" cy="216499"/>
            </a:xfrm>
          </p:grpSpPr>
          <p:sp>
            <p:nvSpPr>
              <p:cNvPr id="748" name="Freeform: Shape 747">
                <a:extLst>
                  <a:ext uri="{FF2B5EF4-FFF2-40B4-BE49-F238E27FC236}">
                    <a16:creationId xmlns:a16="http://schemas.microsoft.com/office/drawing/2014/main" id="{4A889156-1AE3-4CE1-BD13-221B8AFEA434}"/>
                  </a:ext>
                </a:extLst>
              </p:cNvPr>
              <p:cNvSpPr/>
              <p:nvPr/>
            </p:nvSpPr>
            <p:spPr>
              <a:xfrm>
                <a:off x="6545039" y="2432200"/>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49" name="Freeform: Shape 748">
                <a:extLst>
                  <a:ext uri="{FF2B5EF4-FFF2-40B4-BE49-F238E27FC236}">
                    <a16:creationId xmlns:a16="http://schemas.microsoft.com/office/drawing/2014/main" id="{DF0F1D57-6076-458F-829E-A93F21AA74B1}"/>
                  </a:ext>
                </a:extLst>
              </p:cNvPr>
              <p:cNvSpPr/>
              <p:nvPr/>
            </p:nvSpPr>
            <p:spPr>
              <a:xfrm>
                <a:off x="6584161" y="253233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50" name="Freeform: Shape 749">
                <a:extLst>
                  <a:ext uri="{FF2B5EF4-FFF2-40B4-BE49-F238E27FC236}">
                    <a16:creationId xmlns:a16="http://schemas.microsoft.com/office/drawing/2014/main" id="{42A5C221-E3FE-4508-9D06-B65B5F6662DA}"/>
                  </a:ext>
                </a:extLst>
              </p:cNvPr>
              <p:cNvSpPr/>
              <p:nvPr/>
            </p:nvSpPr>
            <p:spPr>
              <a:xfrm>
                <a:off x="6584161" y="2510681"/>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51" name="Freeform: Shape 750">
                <a:extLst>
                  <a:ext uri="{FF2B5EF4-FFF2-40B4-BE49-F238E27FC236}">
                    <a16:creationId xmlns:a16="http://schemas.microsoft.com/office/drawing/2014/main" id="{F1E44839-0E95-499E-9239-D9FB729FFB85}"/>
                  </a:ext>
                </a:extLst>
              </p:cNvPr>
              <p:cNvSpPr/>
              <p:nvPr/>
            </p:nvSpPr>
            <p:spPr>
              <a:xfrm>
                <a:off x="6584161" y="255398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52" name="Freeform: Shape 751">
                <a:extLst>
                  <a:ext uri="{FF2B5EF4-FFF2-40B4-BE49-F238E27FC236}">
                    <a16:creationId xmlns:a16="http://schemas.microsoft.com/office/drawing/2014/main" id="{580DD22D-B029-4E41-A8F4-C267096408E2}"/>
                  </a:ext>
                </a:extLst>
              </p:cNvPr>
              <p:cNvSpPr/>
              <p:nvPr/>
            </p:nvSpPr>
            <p:spPr>
              <a:xfrm>
                <a:off x="6584161" y="257563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53" name="Freeform: Shape 752">
                <a:extLst>
                  <a:ext uri="{FF2B5EF4-FFF2-40B4-BE49-F238E27FC236}">
                    <a16:creationId xmlns:a16="http://schemas.microsoft.com/office/drawing/2014/main" id="{0E5CF501-1D18-4FDC-9798-1645C75ABFB9}"/>
                  </a:ext>
                </a:extLst>
              </p:cNvPr>
              <p:cNvSpPr/>
              <p:nvPr/>
            </p:nvSpPr>
            <p:spPr>
              <a:xfrm>
                <a:off x="6584161" y="259728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760" name="Graphic 217" descr="Statistics">
              <a:extLst>
                <a:ext uri="{FF2B5EF4-FFF2-40B4-BE49-F238E27FC236}">
                  <a16:creationId xmlns:a16="http://schemas.microsoft.com/office/drawing/2014/main" id="{EADA8E1C-6E57-4B2F-B00C-5F5B3D9C70A7}"/>
                </a:ext>
              </a:extLst>
            </p:cNvPr>
            <p:cNvGrpSpPr/>
            <p:nvPr/>
          </p:nvGrpSpPr>
          <p:grpSpPr>
            <a:xfrm>
              <a:off x="1392647" y="2599647"/>
              <a:ext cx="224955" cy="189453"/>
              <a:chOff x="5863694" y="2917641"/>
              <a:chExt cx="224955" cy="189453"/>
            </a:xfrm>
          </p:grpSpPr>
          <p:sp>
            <p:nvSpPr>
              <p:cNvPr id="761" name="Freeform: Shape 760">
                <a:extLst>
                  <a:ext uri="{FF2B5EF4-FFF2-40B4-BE49-F238E27FC236}">
                    <a16:creationId xmlns:a16="http://schemas.microsoft.com/office/drawing/2014/main" id="{D89835B7-5353-49E8-9F53-409A154773DF}"/>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62" name="Freeform: Shape 761">
                <a:extLst>
                  <a:ext uri="{FF2B5EF4-FFF2-40B4-BE49-F238E27FC236}">
                    <a16:creationId xmlns:a16="http://schemas.microsoft.com/office/drawing/2014/main" id="{19D96085-4BB0-41BF-8779-919A0A1E898B}"/>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767" name="Graphic 219" descr="Paper">
              <a:extLst>
                <a:ext uri="{FF2B5EF4-FFF2-40B4-BE49-F238E27FC236}">
                  <a16:creationId xmlns:a16="http://schemas.microsoft.com/office/drawing/2014/main" id="{09CDD1EA-9DF6-48FD-9BF9-FD548B42CAB2}"/>
                </a:ext>
              </a:extLst>
            </p:cNvPr>
            <p:cNvSpPr/>
            <p:nvPr/>
          </p:nvSpPr>
          <p:spPr>
            <a:xfrm>
              <a:off x="3472910" y="1966878"/>
              <a:ext cx="202134" cy="216499"/>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nvGrpSpPr>
            <p:cNvPr id="768" name="Graphic 221" descr="Statistics">
              <a:extLst>
                <a:ext uri="{FF2B5EF4-FFF2-40B4-BE49-F238E27FC236}">
                  <a16:creationId xmlns:a16="http://schemas.microsoft.com/office/drawing/2014/main" id="{2C688528-C33E-4F19-A433-1E8D0F19B130}"/>
                </a:ext>
              </a:extLst>
            </p:cNvPr>
            <p:cNvGrpSpPr/>
            <p:nvPr/>
          </p:nvGrpSpPr>
          <p:grpSpPr>
            <a:xfrm>
              <a:off x="3620831" y="2665085"/>
              <a:ext cx="224955" cy="189453"/>
              <a:chOff x="7485079" y="2824981"/>
              <a:chExt cx="224955" cy="189453"/>
            </a:xfrm>
          </p:grpSpPr>
          <p:sp>
            <p:nvSpPr>
              <p:cNvPr id="769" name="Freeform: Shape 768">
                <a:extLst>
                  <a:ext uri="{FF2B5EF4-FFF2-40B4-BE49-F238E27FC236}">
                    <a16:creationId xmlns:a16="http://schemas.microsoft.com/office/drawing/2014/main" id="{2E25AB2B-8F0B-40E9-BE4C-D19BB74AFB1D}"/>
                  </a:ext>
                </a:extLst>
              </p:cNvPr>
              <p:cNvSpPr/>
              <p:nvPr/>
            </p:nvSpPr>
            <p:spPr>
              <a:xfrm>
                <a:off x="7520887" y="282498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70" name="Freeform: Shape 769">
                <a:extLst>
                  <a:ext uri="{FF2B5EF4-FFF2-40B4-BE49-F238E27FC236}">
                    <a16:creationId xmlns:a16="http://schemas.microsoft.com/office/drawing/2014/main" id="{926D0090-10E6-4703-BFA4-64A9F9D3B1EF}"/>
                  </a:ext>
                </a:extLst>
              </p:cNvPr>
              <p:cNvSpPr/>
              <p:nvPr/>
            </p:nvSpPr>
            <p:spPr>
              <a:xfrm>
                <a:off x="7485079" y="282499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783" name="Graphic 220" descr="Document">
              <a:extLst>
                <a:ext uri="{FF2B5EF4-FFF2-40B4-BE49-F238E27FC236}">
                  <a16:creationId xmlns:a16="http://schemas.microsoft.com/office/drawing/2014/main" id="{4D67A334-BF92-4DBB-ABB3-252E7202762C}"/>
                </a:ext>
              </a:extLst>
            </p:cNvPr>
            <p:cNvGrpSpPr/>
            <p:nvPr/>
          </p:nvGrpSpPr>
          <p:grpSpPr>
            <a:xfrm>
              <a:off x="2751271" y="2017307"/>
              <a:ext cx="202134" cy="216499"/>
              <a:chOff x="7129418" y="2451503"/>
              <a:chExt cx="202134" cy="216499"/>
            </a:xfrm>
          </p:grpSpPr>
          <p:sp>
            <p:nvSpPr>
              <p:cNvPr id="784" name="Freeform: Shape 783">
                <a:extLst>
                  <a:ext uri="{FF2B5EF4-FFF2-40B4-BE49-F238E27FC236}">
                    <a16:creationId xmlns:a16="http://schemas.microsoft.com/office/drawing/2014/main" id="{0C4FC903-CF03-47D3-9F37-5AE2CE499013}"/>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85" name="Freeform: Shape 784">
                <a:extLst>
                  <a:ext uri="{FF2B5EF4-FFF2-40B4-BE49-F238E27FC236}">
                    <a16:creationId xmlns:a16="http://schemas.microsoft.com/office/drawing/2014/main" id="{577AAAC1-351C-4916-8986-F1855D7C7EEC}"/>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87" name="Freeform: Shape 786">
                <a:extLst>
                  <a:ext uri="{FF2B5EF4-FFF2-40B4-BE49-F238E27FC236}">
                    <a16:creationId xmlns:a16="http://schemas.microsoft.com/office/drawing/2014/main" id="{4AEEDEFA-B6FC-4488-A897-63679E9D4D7D}"/>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88" name="Freeform: Shape 787">
                <a:extLst>
                  <a:ext uri="{FF2B5EF4-FFF2-40B4-BE49-F238E27FC236}">
                    <a16:creationId xmlns:a16="http://schemas.microsoft.com/office/drawing/2014/main" id="{4DF8A7E6-743E-4DC3-B002-8C735FC8258B}"/>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89" name="Freeform: Shape 788">
                <a:extLst>
                  <a:ext uri="{FF2B5EF4-FFF2-40B4-BE49-F238E27FC236}">
                    <a16:creationId xmlns:a16="http://schemas.microsoft.com/office/drawing/2014/main" id="{232DD6AA-1722-499A-B471-62FEF95D43F0}"/>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790" name="Graphic 237" descr="Document">
              <a:extLst>
                <a:ext uri="{FF2B5EF4-FFF2-40B4-BE49-F238E27FC236}">
                  <a16:creationId xmlns:a16="http://schemas.microsoft.com/office/drawing/2014/main" id="{BD55FEE4-18C1-4888-82CA-E903BB3E3E89}"/>
                </a:ext>
              </a:extLst>
            </p:cNvPr>
            <p:cNvGrpSpPr/>
            <p:nvPr/>
          </p:nvGrpSpPr>
          <p:grpSpPr>
            <a:xfrm>
              <a:off x="3962767" y="2112163"/>
              <a:ext cx="183250" cy="210641"/>
              <a:chOff x="8066103" y="2761492"/>
              <a:chExt cx="183250" cy="210641"/>
            </a:xfrm>
          </p:grpSpPr>
          <p:sp>
            <p:nvSpPr>
              <p:cNvPr id="791" name="Freeform: Shape 790">
                <a:extLst>
                  <a:ext uri="{FF2B5EF4-FFF2-40B4-BE49-F238E27FC236}">
                    <a16:creationId xmlns:a16="http://schemas.microsoft.com/office/drawing/2014/main" id="{797E17A9-4D03-4DA0-929A-748939D8D851}"/>
                  </a:ext>
                </a:extLst>
              </p:cNvPr>
              <p:cNvSpPr/>
              <p:nvPr/>
            </p:nvSpPr>
            <p:spPr>
              <a:xfrm>
                <a:off x="8066103" y="2761492"/>
                <a:ext cx="183250" cy="210641"/>
              </a:xfrm>
              <a:custGeom>
                <a:avLst/>
                <a:gdLst>
                  <a:gd name="connsiteX0" fmla="*/ 17734 w 183250"/>
                  <a:gd name="connsiteY0" fmla="*/ 194843 h 210640"/>
                  <a:gd name="connsiteX1" fmla="*/ 17734 w 183250"/>
                  <a:gd name="connsiteY1" fmla="*/ 15798 h 210640"/>
                  <a:gd name="connsiteX2" fmla="*/ 91625 w 183250"/>
                  <a:gd name="connsiteY2" fmla="*/ 15798 h 210640"/>
                  <a:gd name="connsiteX3" fmla="*/ 91625 w 183250"/>
                  <a:gd name="connsiteY3" fmla="*/ 71091 h 210640"/>
                  <a:gd name="connsiteX4" fmla="*/ 165516 w 183250"/>
                  <a:gd name="connsiteY4" fmla="*/ 71091 h 210640"/>
                  <a:gd name="connsiteX5" fmla="*/ 165516 w 183250"/>
                  <a:gd name="connsiteY5" fmla="*/ 194843 h 210640"/>
                  <a:gd name="connsiteX6" fmla="*/ 17734 w 183250"/>
                  <a:gd name="connsiteY6" fmla="*/ 194843 h 210640"/>
                  <a:gd name="connsiteX7" fmla="*/ 109359 w 183250"/>
                  <a:gd name="connsiteY7" fmla="*/ 22381 h 210640"/>
                  <a:gd name="connsiteX8" fmla="*/ 146304 w 183250"/>
                  <a:gd name="connsiteY8" fmla="*/ 55293 h 210640"/>
                  <a:gd name="connsiteX9" fmla="*/ 109359 w 183250"/>
                  <a:gd name="connsiteY9" fmla="*/ 55293 h 210640"/>
                  <a:gd name="connsiteX10" fmla="*/ 109359 w 183250"/>
                  <a:gd name="connsiteY10" fmla="*/ 22381 h 210640"/>
                  <a:gd name="connsiteX11" fmla="*/ 109359 w 183250"/>
                  <a:gd name="connsiteY11" fmla="*/ 0 h 210640"/>
                  <a:gd name="connsiteX12" fmla="*/ 0 w 183250"/>
                  <a:gd name="connsiteY12" fmla="*/ 0 h 210640"/>
                  <a:gd name="connsiteX13" fmla="*/ 0 w 183250"/>
                  <a:gd name="connsiteY13" fmla="*/ 210641 h 210640"/>
                  <a:gd name="connsiteX14" fmla="*/ 183250 w 183250"/>
                  <a:gd name="connsiteY14" fmla="*/ 210641 h 210640"/>
                  <a:gd name="connsiteX15" fmla="*/ 183250 w 183250"/>
                  <a:gd name="connsiteY15" fmla="*/ 57926 h 210640"/>
                  <a:gd name="connsiteX16" fmla="*/ 109359 w 183250"/>
                  <a:gd name="connsiteY16" fmla="*/ 0 h 21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50" h="210640">
                    <a:moveTo>
                      <a:pt x="17734" y="194843"/>
                    </a:moveTo>
                    <a:lnTo>
                      <a:pt x="17734" y="15798"/>
                    </a:lnTo>
                    <a:lnTo>
                      <a:pt x="91625" y="15798"/>
                    </a:lnTo>
                    <a:lnTo>
                      <a:pt x="91625" y="71091"/>
                    </a:lnTo>
                    <a:lnTo>
                      <a:pt x="165516" y="71091"/>
                    </a:lnTo>
                    <a:lnTo>
                      <a:pt x="165516" y="194843"/>
                    </a:lnTo>
                    <a:lnTo>
                      <a:pt x="17734" y="194843"/>
                    </a:lnTo>
                    <a:close/>
                    <a:moveTo>
                      <a:pt x="109359" y="22381"/>
                    </a:moveTo>
                    <a:lnTo>
                      <a:pt x="146304" y="55293"/>
                    </a:lnTo>
                    <a:lnTo>
                      <a:pt x="109359" y="55293"/>
                    </a:lnTo>
                    <a:lnTo>
                      <a:pt x="109359" y="22381"/>
                    </a:lnTo>
                    <a:close/>
                    <a:moveTo>
                      <a:pt x="109359" y="0"/>
                    </a:moveTo>
                    <a:lnTo>
                      <a:pt x="0" y="0"/>
                    </a:lnTo>
                    <a:lnTo>
                      <a:pt x="0" y="210641"/>
                    </a:lnTo>
                    <a:lnTo>
                      <a:pt x="183250" y="210641"/>
                    </a:lnTo>
                    <a:lnTo>
                      <a:pt x="183250" y="57926"/>
                    </a:lnTo>
                    <a:lnTo>
                      <a:pt x="109359" y="0"/>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92" name="Freeform: Shape 791">
                <a:extLst>
                  <a:ext uri="{FF2B5EF4-FFF2-40B4-BE49-F238E27FC236}">
                    <a16:creationId xmlns:a16="http://schemas.microsoft.com/office/drawing/2014/main" id="{5FDC3005-9DC7-4DA1-B2C5-C8196BA3AD91}"/>
                  </a:ext>
                </a:extLst>
              </p:cNvPr>
              <p:cNvSpPr/>
              <p:nvPr/>
            </p:nvSpPr>
            <p:spPr>
              <a:xfrm>
                <a:off x="8101571" y="2858913"/>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93" name="Freeform: Shape 792">
                <a:extLst>
                  <a:ext uri="{FF2B5EF4-FFF2-40B4-BE49-F238E27FC236}">
                    <a16:creationId xmlns:a16="http://schemas.microsoft.com/office/drawing/2014/main" id="{A50F50BC-10BC-4234-AEE4-8FBCF7AFDC37}"/>
                  </a:ext>
                </a:extLst>
              </p:cNvPr>
              <p:cNvSpPr/>
              <p:nvPr/>
            </p:nvSpPr>
            <p:spPr>
              <a:xfrm>
                <a:off x="8101571" y="2837849"/>
                <a:ext cx="38423" cy="10532"/>
              </a:xfrm>
              <a:custGeom>
                <a:avLst/>
                <a:gdLst>
                  <a:gd name="connsiteX0" fmla="*/ 0 w 38423"/>
                  <a:gd name="connsiteY0" fmla="*/ 0 h 10532"/>
                  <a:gd name="connsiteX1" fmla="*/ 38423 w 38423"/>
                  <a:gd name="connsiteY1" fmla="*/ 0 h 10532"/>
                  <a:gd name="connsiteX2" fmla="*/ 38423 w 38423"/>
                  <a:gd name="connsiteY2" fmla="*/ 10532 h 10532"/>
                  <a:gd name="connsiteX3" fmla="*/ 0 w 38423"/>
                  <a:gd name="connsiteY3" fmla="*/ 10532 h 10532"/>
                </a:gdLst>
                <a:ahLst/>
                <a:cxnLst>
                  <a:cxn ang="0">
                    <a:pos x="connsiteX0" y="connsiteY0"/>
                  </a:cxn>
                  <a:cxn ang="0">
                    <a:pos x="connsiteX1" y="connsiteY1"/>
                  </a:cxn>
                  <a:cxn ang="0">
                    <a:pos x="connsiteX2" y="connsiteY2"/>
                  </a:cxn>
                  <a:cxn ang="0">
                    <a:pos x="connsiteX3" y="connsiteY3"/>
                  </a:cxn>
                </a:cxnLst>
                <a:rect l="l" t="t" r="r" b="b"/>
                <a:pathLst>
                  <a:path w="38423" h="10532">
                    <a:moveTo>
                      <a:pt x="0" y="0"/>
                    </a:moveTo>
                    <a:lnTo>
                      <a:pt x="38423" y="0"/>
                    </a:lnTo>
                    <a:lnTo>
                      <a:pt x="38423"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94" name="Freeform: Shape 793">
                <a:extLst>
                  <a:ext uri="{FF2B5EF4-FFF2-40B4-BE49-F238E27FC236}">
                    <a16:creationId xmlns:a16="http://schemas.microsoft.com/office/drawing/2014/main" id="{D887A708-3D09-43E8-9B1F-9B014DBEC00F}"/>
                  </a:ext>
                </a:extLst>
              </p:cNvPr>
              <p:cNvSpPr/>
              <p:nvPr/>
            </p:nvSpPr>
            <p:spPr>
              <a:xfrm>
                <a:off x="8101571" y="2879978"/>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95" name="Freeform: Shape 794">
                <a:extLst>
                  <a:ext uri="{FF2B5EF4-FFF2-40B4-BE49-F238E27FC236}">
                    <a16:creationId xmlns:a16="http://schemas.microsoft.com/office/drawing/2014/main" id="{ABDFC0A3-33F1-46E6-A786-6F49E58619C5}"/>
                  </a:ext>
                </a:extLst>
              </p:cNvPr>
              <p:cNvSpPr/>
              <p:nvPr/>
            </p:nvSpPr>
            <p:spPr>
              <a:xfrm>
                <a:off x="8101571" y="2901042"/>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796" name="Freeform: Shape 795">
                <a:extLst>
                  <a:ext uri="{FF2B5EF4-FFF2-40B4-BE49-F238E27FC236}">
                    <a16:creationId xmlns:a16="http://schemas.microsoft.com/office/drawing/2014/main" id="{2BC5486C-4C68-4118-A442-0AFF05E4B194}"/>
                  </a:ext>
                </a:extLst>
              </p:cNvPr>
              <p:cNvSpPr/>
              <p:nvPr/>
            </p:nvSpPr>
            <p:spPr>
              <a:xfrm>
                <a:off x="8101571" y="2922106"/>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830" name="Graphic 220" descr="Document">
              <a:extLst>
                <a:ext uri="{FF2B5EF4-FFF2-40B4-BE49-F238E27FC236}">
                  <a16:creationId xmlns:a16="http://schemas.microsoft.com/office/drawing/2014/main" id="{9B41B52C-3E39-44E2-84DF-E507712488D2}"/>
                </a:ext>
              </a:extLst>
            </p:cNvPr>
            <p:cNvGrpSpPr/>
            <p:nvPr/>
          </p:nvGrpSpPr>
          <p:grpSpPr>
            <a:xfrm>
              <a:off x="786318" y="2039763"/>
              <a:ext cx="202134" cy="216499"/>
              <a:chOff x="7129418" y="2451503"/>
              <a:chExt cx="202134" cy="216499"/>
            </a:xfrm>
          </p:grpSpPr>
          <p:sp>
            <p:nvSpPr>
              <p:cNvPr id="831" name="Freeform: Shape 830">
                <a:extLst>
                  <a:ext uri="{FF2B5EF4-FFF2-40B4-BE49-F238E27FC236}">
                    <a16:creationId xmlns:a16="http://schemas.microsoft.com/office/drawing/2014/main" id="{C8031157-AC33-4038-B3B0-3FFD52037AF9}"/>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32" name="Freeform: Shape 831">
                <a:extLst>
                  <a:ext uri="{FF2B5EF4-FFF2-40B4-BE49-F238E27FC236}">
                    <a16:creationId xmlns:a16="http://schemas.microsoft.com/office/drawing/2014/main" id="{F1F294A9-1E98-4A77-B0C8-6066C7EAD18B}"/>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33" name="Freeform: Shape 832">
                <a:extLst>
                  <a:ext uri="{FF2B5EF4-FFF2-40B4-BE49-F238E27FC236}">
                    <a16:creationId xmlns:a16="http://schemas.microsoft.com/office/drawing/2014/main" id="{5A5CED8D-786C-48E3-A3AB-365785F3C261}"/>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34" name="Freeform: Shape 833">
                <a:extLst>
                  <a:ext uri="{FF2B5EF4-FFF2-40B4-BE49-F238E27FC236}">
                    <a16:creationId xmlns:a16="http://schemas.microsoft.com/office/drawing/2014/main" id="{60B2DF4A-FC66-479F-98AF-B5C10418E9EF}"/>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35" name="Freeform: Shape 834">
                <a:extLst>
                  <a:ext uri="{FF2B5EF4-FFF2-40B4-BE49-F238E27FC236}">
                    <a16:creationId xmlns:a16="http://schemas.microsoft.com/office/drawing/2014/main" id="{FB895866-9F09-4EEF-B026-E7F847A9BDE5}"/>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36" name="Freeform: Shape 835">
                <a:extLst>
                  <a:ext uri="{FF2B5EF4-FFF2-40B4-BE49-F238E27FC236}">
                    <a16:creationId xmlns:a16="http://schemas.microsoft.com/office/drawing/2014/main" id="{E371E10F-8905-496B-94FD-0B107933CF1F}"/>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cxnSp>
          <p:nvCxnSpPr>
            <p:cNvPr id="839" name="Straight Connector 838">
              <a:extLst>
                <a:ext uri="{FF2B5EF4-FFF2-40B4-BE49-F238E27FC236}">
                  <a16:creationId xmlns:a16="http://schemas.microsoft.com/office/drawing/2014/main" id="{76E28CEE-25F1-4C2D-B7D4-9041B67D1157}"/>
                </a:ext>
              </a:extLst>
            </p:cNvPr>
            <p:cNvCxnSpPr>
              <a:cxnSpLocks/>
              <a:stCxn id="836" idx="0"/>
            </p:cNvCxnSpPr>
            <p:nvPr/>
          </p:nvCxnSpPr>
          <p:spPr bwMode="auto">
            <a:xfrm flipH="1">
              <a:off x="768090" y="2204844"/>
              <a:ext cx="57350" cy="425060"/>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4" name="Straight Connector 843">
              <a:extLst>
                <a:ext uri="{FF2B5EF4-FFF2-40B4-BE49-F238E27FC236}">
                  <a16:creationId xmlns:a16="http://schemas.microsoft.com/office/drawing/2014/main" id="{26186E8D-D511-4286-924F-7FACC1109D76}"/>
                </a:ext>
              </a:extLst>
            </p:cNvPr>
            <p:cNvCxnSpPr>
              <a:cxnSpLocks/>
              <a:endCxn id="746" idx="2"/>
            </p:cNvCxnSpPr>
            <p:nvPr/>
          </p:nvCxnSpPr>
          <p:spPr bwMode="auto">
            <a:xfrm>
              <a:off x="1100632" y="1818808"/>
              <a:ext cx="62274" cy="532564"/>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53" name="Straight Connector 852">
              <a:extLst>
                <a:ext uri="{FF2B5EF4-FFF2-40B4-BE49-F238E27FC236}">
                  <a16:creationId xmlns:a16="http://schemas.microsoft.com/office/drawing/2014/main" id="{3DFD3D98-2759-4769-A88A-02B91327A379}"/>
                </a:ext>
              </a:extLst>
            </p:cNvPr>
            <p:cNvCxnSpPr>
              <a:cxnSpLocks/>
              <a:stCxn id="716" idx="3"/>
              <a:endCxn id="791" idx="11"/>
            </p:cNvCxnSpPr>
            <p:nvPr/>
          </p:nvCxnSpPr>
          <p:spPr bwMode="auto">
            <a:xfrm>
              <a:off x="3980266" y="1756190"/>
              <a:ext cx="91860" cy="355973"/>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58" name="Graphic 237" descr="Document">
              <a:extLst>
                <a:ext uri="{FF2B5EF4-FFF2-40B4-BE49-F238E27FC236}">
                  <a16:creationId xmlns:a16="http://schemas.microsoft.com/office/drawing/2014/main" id="{6FC8236A-CF4A-4052-ADFC-FC6B6075B2B3}"/>
                </a:ext>
              </a:extLst>
            </p:cNvPr>
            <p:cNvGrpSpPr/>
            <p:nvPr/>
          </p:nvGrpSpPr>
          <p:grpSpPr>
            <a:xfrm>
              <a:off x="3104493" y="2020237"/>
              <a:ext cx="183250" cy="210641"/>
              <a:chOff x="8066103" y="2761492"/>
              <a:chExt cx="183250" cy="210641"/>
            </a:xfrm>
          </p:grpSpPr>
          <p:sp>
            <p:nvSpPr>
              <p:cNvPr id="859" name="Freeform: Shape 858">
                <a:extLst>
                  <a:ext uri="{FF2B5EF4-FFF2-40B4-BE49-F238E27FC236}">
                    <a16:creationId xmlns:a16="http://schemas.microsoft.com/office/drawing/2014/main" id="{CEC7992D-D5D6-4FC2-8663-4613559B4085}"/>
                  </a:ext>
                </a:extLst>
              </p:cNvPr>
              <p:cNvSpPr/>
              <p:nvPr/>
            </p:nvSpPr>
            <p:spPr>
              <a:xfrm>
                <a:off x="8066103" y="2761492"/>
                <a:ext cx="183250" cy="210641"/>
              </a:xfrm>
              <a:custGeom>
                <a:avLst/>
                <a:gdLst>
                  <a:gd name="connsiteX0" fmla="*/ 17734 w 183250"/>
                  <a:gd name="connsiteY0" fmla="*/ 194843 h 210640"/>
                  <a:gd name="connsiteX1" fmla="*/ 17734 w 183250"/>
                  <a:gd name="connsiteY1" fmla="*/ 15798 h 210640"/>
                  <a:gd name="connsiteX2" fmla="*/ 91625 w 183250"/>
                  <a:gd name="connsiteY2" fmla="*/ 15798 h 210640"/>
                  <a:gd name="connsiteX3" fmla="*/ 91625 w 183250"/>
                  <a:gd name="connsiteY3" fmla="*/ 71091 h 210640"/>
                  <a:gd name="connsiteX4" fmla="*/ 165516 w 183250"/>
                  <a:gd name="connsiteY4" fmla="*/ 71091 h 210640"/>
                  <a:gd name="connsiteX5" fmla="*/ 165516 w 183250"/>
                  <a:gd name="connsiteY5" fmla="*/ 194843 h 210640"/>
                  <a:gd name="connsiteX6" fmla="*/ 17734 w 183250"/>
                  <a:gd name="connsiteY6" fmla="*/ 194843 h 210640"/>
                  <a:gd name="connsiteX7" fmla="*/ 109359 w 183250"/>
                  <a:gd name="connsiteY7" fmla="*/ 22381 h 210640"/>
                  <a:gd name="connsiteX8" fmla="*/ 146304 w 183250"/>
                  <a:gd name="connsiteY8" fmla="*/ 55293 h 210640"/>
                  <a:gd name="connsiteX9" fmla="*/ 109359 w 183250"/>
                  <a:gd name="connsiteY9" fmla="*/ 55293 h 210640"/>
                  <a:gd name="connsiteX10" fmla="*/ 109359 w 183250"/>
                  <a:gd name="connsiteY10" fmla="*/ 22381 h 210640"/>
                  <a:gd name="connsiteX11" fmla="*/ 109359 w 183250"/>
                  <a:gd name="connsiteY11" fmla="*/ 0 h 210640"/>
                  <a:gd name="connsiteX12" fmla="*/ 0 w 183250"/>
                  <a:gd name="connsiteY12" fmla="*/ 0 h 210640"/>
                  <a:gd name="connsiteX13" fmla="*/ 0 w 183250"/>
                  <a:gd name="connsiteY13" fmla="*/ 210641 h 210640"/>
                  <a:gd name="connsiteX14" fmla="*/ 183250 w 183250"/>
                  <a:gd name="connsiteY14" fmla="*/ 210641 h 210640"/>
                  <a:gd name="connsiteX15" fmla="*/ 183250 w 183250"/>
                  <a:gd name="connsiteY15" fmla="*/ 57926 h 210640"/>
                  <a:gd name="connsiteX16" fmla="*/ 109359 w 183250"/>
                  <a:gd name="connsiteY16" fmla="*/ 0 h 21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50" h="210640">
                    <a:moveTo>
                      <a:pt x="17734" y="194843"/>
                    </a:moveTo>
                    <a:lnTo>
                      <a:pt x="17734" y="15798"/>
                    </a:lnTo>
                    <a:lnTo>
                      <a:pt x="91625" y="15798"/>
                    </a:lnTo>
                    <a:lnTo>
                      <a:pt x="91625" y="71091"/>
                    </a:lnTo>
                    <a:lnTo>
                      <a:pt x="165516" y="71091"/>
                    </a:lnTo>
                    <a:lnTo>
                      <a:pt x="165516" y="194843"/>
                    </a:lnTo>
                    <a:lnTo>
                      <a:pt x="17734" y="194843"/>
                    </a:lnTo>
                    <a:close/>
                    <a:moveTo>
                      <a:pt x="109359" y="22381"/>
                    </a:moveTo>
                    <a:lnTo>
                      <a:pt x="146304" y="55293"/>
                    </a:lnTo>
                    <a:lnTo>
                      <a:pt x="109359" y="55293"/>
                    </a:lnTo>
                    <a:lnTo>
                      <a:pt x="109359" y="22381"/>
                    </a:lnTo>
                    <a:close/>
                    <a:moveTo>
                      <a:pt x="109359" y="0"/>
                    </a:moveTo>
                    <a:lnTo>
                      <a:pt x="0" y="0"/>
                    </a:lnTo>
                    <a:lnTo>
                      <a:pt x="0" y="210641"/>
                    </a:lnTo>
                    <a:lnTo>
                      <a:pt x="183250" y="210641"/>
                    </a:lnTo>
                    <a:lnTo>
                      <a:pt x="183250" y="57926"/>
                    </a:lnTo>
                    <a:lnTo>
                      <a:pt x="109359" y="0"/>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60" name="Freeform: Shape 859">
                <a:extLst>
                  <a:ext uri="{FF2B5EF4-FFF2-40B4-BE49-F238E27FC236}">
                    <a16:creationId xmlns:a16="http://schemas.microsoft.com/office/drawing/2014/main" id="{020DF7C9-3D79-4D23-897C-465D078ACE12}"/>
                  </a:ext>
                </a:extLst>
              </p:cNvPr>
              <p:cNvSpPr/>
              <p:nvPr/>
            </p:nvSpPr>
            <p:spPr>
              <a:xfrm>
                <a:off x="8101571" y="2858913"/>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61" name="Freeform: Shape 860">
                <a:extLst>
                  <a:ext uri="{FF2B5EF4-FFF2-40B4-BE49-F238E27FC236}">
                    <a16:creationId xmlns:a16="http://schemas.microsoft.com/office/drawing/2014/main" id="{7D7A5C9D-18E5-4C50-B346-B3746E4BD5F6}"/>
                  </a:ext>
                </a:extLst>
              </p:cNvPr>
              <p:cNvSpPr/>
              <p:nvPr/>
            </p:nvSpPr>
            <p:spPr>
              <a:xfrm>
                <a:off x="8101571" y="2837849"/>
                <a:ext cx="38423" cy="10532"/>
              </a:xfrm>
              <a:custGeom>
                <a:avLst/>
                <a:gdLst>
                  <a:gd name="connsiteX0" fmla="*/ 0 w 38423"/>
                  <a:gd name="connsiteY0" fmla="*/ 0 h 10532"/>
                  <a:gd name="connsiteX1" fmla="*/ 38423 w 38423"/>
                  <a:gd name="connsiteY1" fmla="*/ 0 h 10532"/>
                  <a:gd name="connsiteX2" fmla="*/ 38423 w 38423"/>
                  <a:gd name="connsiteY2" fmla="*/ 10532 h 10532"/>
                  <a:gd name="connsiteX3" fmla="*/ 0 w 38423"/>
                  <a:gd name="connsiteY3" fmla="*/ 10532 h 10532"/>
                </a:gdLst>
                <a:ahLst/>
                <a:cxnLst>
                  <a:cxn ang="0">
                    <a:pos x="connsiteX0" y="connsiteY0"/>
                  </a:cxn>
                  <a:cxn ang="0">
                    <a:pos x="connsiteX1" y="connsiteY1"/>
                  </a:cxn>
                  <a:cxn ang="0">
                    <a:pos x="connsiteX2" y="connsiteY2"/>
                  </a:cxn>
                  <a:cxn ang="0">
                    <a:pos x="connsiteX3" y="connsiteY3"/>
                  </a:cxn>
                </a:cxnLst>
                <a:rect l="l" t="t" r="r" b="b"/>
                <a:pathLst>
                  <a:path w="38423" h="10532">
                    <a:moveTo>
                      <a:pt x="0" y="0"/>
                    </a:moveTo>
                    <a:lnTo>
                      <a:pt x="38423" y="0"/>
                    </a:lnTo>
                    <a:lnTo>
                      <a:pt x="38423"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62" name="Freeform: Shape 861">
                <a:extLst>
                  <a:ext uri="{FF2B5EF4-FFF2-40B4-BE49-F238E27FC236}">
                    <a16:creationId xmlns:a16="http://schemas.microsoft.com/office/drawing/2014/main" id="{C59FAF93-41A1-4654-AB83-BB6A311F760C}"/>
                  </a:ext>
                </a:extLst>
              </p:cNvPr>
              <p:cNvSpPr/>
              <p:nvPr/>
            </p:nvSpPr>
            <p:spPr>
              <a:xfrm>
                <a:off x="8101571" y="2879978"/>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63" name="Freeform: Shape 862">
                <a:extLst>
                  <a:ext uri="{FF2B5EF4-FFF2-40B4-BE49-F238E27FC236}">
                    <a16:creationId xmlns:a16="http://schemas.microsoft.com/office/drawing/2014/main" id="{70FED533-A3BA-460C-92B8-886F3D6763BB}"/>
                  </a:ext>
                </a:extLst>
              </p:cNvPr>
              <p:cNvSpPr/>
              <p:nvPr/>
            </p:nvSpPr>
            <p:spPr>
              <a:xfrm>
                <a:off x="8101571" y="2901042"/>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64" name="Freeform: Shape 863">
                <a:extLst>
                  <a:ext uri="{FF2B5EF4-FFF2-40B4-BE49-F238E27FC236}">
                    <a16:creationId xmlns:a16="http://schemas.microsoft.com/office/drawing/2014/main" id="{1C21DCD2-B11F-4E0E-9C53-8D7FCC7D88F7}"/>
                  </a:ext>
                </a:extLst>
              </p:cNvPr>
              <p:cNvSpPr/>
              <p:nvPr/>
            </p:nvSpPr>
            <p:spPr>
              <a:xfrm>
                <a:off x="8101571" y="2922106"/>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cxnSp>
          <p:nvCxnSpPr>
            <p:cNvPr id="865" name="Straight Connector 864">
              <a:extLst>
                <a:ext uri="{FF2B5EF4-FFF2-40B4-BE49-F238E27FC236}">
                  <a16:creationId xmlns:a16="http://schemas.microsoft.com/office/drawing/2014/main" id="{80CE82AF-B41B-4584-857A-F6CE55228397}"/>
                </a:ext>
              </a:extLst>
            </p:cNvPr>
            <p:cNvCxnSpPr>
              <a:cxnSpLocks/>
              <a:endCxn id="859" idx="11"/>
            </p:cNvCxnSpPr>
            <p:nvPr/>
          </p:nvCxnSpPr>
          <p:spPr bwMode="auto">
            <a:xfrm flipH="1">
              <a:off x="3213852" y="1753216"/>
              <a:ext cx="36983" cy="26702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3" name="Straight Connector 872">
              <a:extLst>
                <a:ext uri="{FF2B5EF4-FFF2-40B4-BE49-F238E27FC236}">
                  <a16:creationId xmlns:a16="http://schemas.microsoft.com/office/drawing/2014/main" id="{535AF036-0120-46B4-8647-249D5B234DF5}"/>
                </a:ext>
              </a:extLst>
            </p:cNvPr>
            <p:cNvCxnSpPr>
              <a:cxnSpLocks/>
              <a:stCxn id="345" idx="1"/>
              <a:endCxn id="719" idx="3"/>
            </p:cNvCxnSpPr>
            <p:nvPr/>
          </p:nvCxnSpPr>
          <p:spPr bwMode="auto">
            <a:xfrm flipV="1">
              <a:off x="2454707" y="1757970"/>
              <a:ext cx="71768" cy="679238"/>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80" name="Graphic 220" descr="Document">
              <a:extLst>
                <a:ext uri="{FF2B5EF4-FFF2-40B4-BE49-F238E27FC236}">
                  <a16:creationId xmlns:a16="http://schemas.microsoft.com/office/drawing/2014/main" id="{B084BEDD-BD5C-4DD2-B29C-4A58DEDE49AB}"/>
                </a:ext>
              </a:extLst>
            </p:cNvPr>
            <p:cNvGrpSpPr/>
            <p:nvPr/>
          </p:nvGrpSpPr>
          <p:grpSpPr>
            <a:xfrm>
              <a:off x="1737156" y="2012701"/>
              <a:ext cx="202134" cy="216499"/>
              <a:chOff x="7129418" y="2451503"/>
              <a:chExt cx="202134" cy="216499"/>
            </a:xfrm>
          </p:grpSpPr>
          <p:sp>
            <p:nvSpPr>
              <p:cNvPr id="881" name="Freeform: Shape 880">
                <a:extLst>
                  <a:ext uri="{FF2B5EF4-FFF2-40B4-BE49-F238E27FC236}">
                    <a16:creationId xmlns:a16="http://schemas.microsoft.com/office/drawing/2014/main" id="{4CCB3D6D-5908-4D1A-8B40-F75D30A5A698}"/>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82" name="Freeform: Shape 881">
                <a:extLst>
                  <a:ext uri="{FF2B5EF4-FFF2-40B4-BE49-F238E27FC236}">
                    <a16:creationId xmlns:a16="http://schemas.microsoft.com/office/drawing/2014/main" id="{73F7F1F6-177F-478D-9266-6779C781CE25}"/>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83" name="Freeform: Shape 882">
                <a:extLst>
                  <a:ext uri="{FF2B5EF4-FFF2-40B4-BE49-F238E27FC236}">
                    <a16:creationId xmlns:a16="http://schemas.microsoft.com/office/drawing/2014/main" id="{22FE401F-0358-42F3-A1C5-69566E0E0737}"/>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84" name="Freeform: Shape 883">
                <a:extLst>
                  <a:ext uri="{FF2B5EF4-FFF2-40B4-BE49-F238E27FC236}">
                    <a16:creationId xmlns:a16="http://schemas.microsoft.com/office/drawing/2014/main" id="{CDA42CB6-A83A-42E4-83A3-4C7F1849EE86}"/>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85" name="Freeform: Shape 884">
                <a:extLst>
                  <a:ext uri="{FF2B5EF4-FFF2-40B4-BE49-F238E27FC236}">
                    <a16:creationId xmlns:a16="http://schemas.microsoft.com/office/drawing/2014/main" id="{7BBC96FD-6B1A-44E0-BEED-6FD38BE899CC}"/>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886" name="Freeform: Shape 885">
                <a:extLst>
                  <a:ext uri="{FF2B5EF4-FFF2-40B4-BE49-F238E27FC236}">
                    <a16:creationId xmlns:a16="http://schemas.microsoft.com/office/drawing/2014/main" id="{3992673B-95B0-4BA8-9700-9588609F18C6}"/>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cxnSp>
          <p:nvCxnSpPr>
            <p:cNvPr id="887" name="Straight Connector 886">
              <a:extLst>
                <a:ext uri="{FF2B5EF4-FFF2-40B4-BE49-F238E27FC236}">
                  <a16:creationId xmlns:a16="http://schemas.microsoft.com/office/drawing/2014/main" id="{753756C8-5482-463B-9810-E35E7DBD7F16}"/>
                </a:ext>
              </a:extLst>
            </p:cNvPr>
            <p:cNvCxnSpPr>
              <a:cxnSpLocks/>
              <a:endCxn id="881" idx="1"/>
            </p:cNvCxnSpPr>
            <p:nvPr/>
          </p:nvCxnSpPr>
          <p:spPr bwMode="auto">
            <a:xfrm>
              <a:off x="1269279" y="1644814"/>
              <a:ext cx="487438" cy="384124"/>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0" name="Straight Connector 889">
              <a:extLst>
                <a:ext uri="{FF2B5EF4-FFF2-40B4-BE49-F238E27FC236}">
                  <a16:creationId xmlns:a16="http://schemas.microsoft.com/office/drawing/2014/main" id="{CDB34730-E2D7-41E8-BEDC-66D79FF8ABDA}"/>
                </a:ext>
              </a:extLst>
            </p:cNvPr>
            <p:cNvCxnSpPr>
              <a:cxnSpLocks/>
              <a:endCxn id="881" idx="4"/>
            </p:cNvCxnSpPr>
            <p:nvPr/>
          </p:nvCxnSpPr>
          <p:spPr bwMode="auto">
            <a:xfrm flipH="1">
              <a:off x="1919729" y="1752691"/>
              <a:ext cx="376125" cy="33307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3" name="Straight Connector 892">
              <a:extLst>
                <a:ext uri="{FF2B5EF4-FFF2-40B4-BE49-F238E27FC236}">
                  <a16:creationId xmlns:a16="http://schemas.microsoft.com/office/drawing/2014/main" id="{A4D7DC20-3ED2-40D2-8927-830358AA8E16}"/>
                </a:ext>
              </a:extLst>
            </p:cNvPr>
            <p:cNvCxnSpPr>
              <a:cxnSpLocks/>
              <a:stCxn id="698" idx="2"/>
              <a:endCxn id="881" idx="15"/>
            </p:cNvCxnSpPr>
            <p:nvPr/>
          </p:nvCxnSpPr>
          <p:spPr bwMode="auto">
            <a:xfrm flipH="1">
              <a:off x="1939291" y="1576766"/>
              <a:ext cx="1151988" cy="495472"/>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6" name="Straight Connector 895">
              <a:extLst>
                <a:ext uri="{FF2B5EF4-FFF2-40B4-BE49-F238E27FC236}">
                  <a16:creationId xmlns:a16="http://schemas.microsoft.com/office/drawing/2014/main" id="{794D64F8-E425-46DC-9A2B-3413F3A5C8DB}"/>
                </a:ext>
              </a:extLst>
            </p:cNvPr>
            <p:cNvCxnSpPr>
              <a:cxnSpLocks/>
            </p:cNvCxnSpPr>
            <p:nvPr/>
          </p:nvCxnSpPr>
          <p:spPr bwMode="auto">
            <a:xfrm flipH="1">
              <a:off x="1255102" y="1760942"/>
              <a:ext cx="1889607" cy="688176"/>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99" name="Graphic 221" descr="Statistics">
              <a:extLst>
                <a:ext uri="{FF2B5EF4-FFF2-40B4-BE49-F238E27FC236}">
                  <a16:creationId xmlns:a16="http://schemas.microsoft.com/office/drawing/2014/main" id="{3093FF73-D235-478D-824B-B9DEE0E3FCAF}"/>
                </a:ext>
              </a:extLst>
            </p:cNvPr>
            <p:cNvGrpSpPr/>
            <p:nvPr/>
          </p:nvGrpSpPr>
          <p:grpSpPr>
            <a:xfrm>
              <a:off x="1984225" y="2443384"/>
              <a:ext cx="224955" cy="189453"/>
              <a:chOff x="7485079" y="2824981"/>
              <a:chExt cx="224955" cy="189453"/>
            </a:xfrm>
          </p:grpSpPr>
          <p:sp>
            <p:nvSpPr>
              <p:cNvPr id="900" name="Freeform: Shape 899">
                <a:extLst>
                  <a:ext uri="{FF2B5EF4-FFF2-40B4-BE49-F238E27FC236}">
                    <a16:creationId xmlns:a16="http://schemas.microsoft.com/office/drawing/2014/main" id="{104BC7F3-9617-45B3-A357-EC6DE4CD33F7}"/>
                  </a:ext>
                </a:extLst>
              </p:cNvPr>
              <p:cNvSpPr/>
              <p:nvPr/>
            </p:nvSpPr>
            <p:spPr>
              <a:xfrm>
                <a:off x="7520887" y="282498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901" name="Freeform: Shape 900">
                <a:extLst>
                  <a:ext uri="{FF2B5EF4-FFF2-40B4-BE49-F238E27FC236}">
                    <a16:creationId xmlns:a16="http://schemas.microsoft.com/office/drawing/2014/main" id="{E0D80697-7FBE-496E-AF02-2AEA4254A933}"/>
                  </a:ext>
                </a:extLst>
              </p:cNvPr>
              <p:cNvSpPr/>
              <p:nvPr/>
            </p:nvSpPr>
            <p:spPr>
              <a:xfrm>
                <a:off x="7485079" y="282499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cxnSp>
          <p:nvCxnSpPr>
            <p:cNvPr id="908" name="Straight Connector 907">
              <a:extLst>
                <a:ext uri="{FF2B5EF4-FFF2-40B4-BE49-F238E27FC236}">
                  <a16:creationId xmlns:a16="http://schemas.microsoft.com/office/drawing/2014/main" id="{A7B7E2E1-4855-49AE-9EA7-189287C214AF}"/>
                </a:ext>
              </a:extLst>
            </p:cNvPr>
            <p:cNvCxnSpPr>
              <a:cxnSpLocks/>
              <a:stCxn id="881" idx="0"/>
              <a:endCxn id="342" idx="1"/>
            </p:cNvCxnSpPr>
            <p:nvPr/>
          </p:nvCxnSpPr>
          <p:spPr bwMode="auto">
            <a:xfrm>
              <a:off x="1756717" y="2212962"/>
              <a:ext cx="81505" cy="51983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0" name="Flowchart: Magnetic Disk 249">
            <a:extLst>
              <a:ext uri="{FF2B5EF4-FFF2-40B4-BE49-F238E27FC236}">
                <a16:creationId xmlns:a16="http://schemas.microsoft.com/office/drawing/2014/main" id="{E74EEFF8-2772-416B-BC60-8E57779E2310}"/>
              </a:ext>
            </a:extLst>
          </p:cNvPr>
          <p:cNvSpPr/>
          <p:nvPr/>
        </p:nvSpPr>
        <p:spPr bwMode="auto">
          <a:xfrm>
            <a:off x="7045018" y="2878131"/>
            <a:ext cx="1264781" cy="422544"/>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r>
              <a:rPr lang="en-GB" sz="900" b="1" kern="0">
                <a:solidFill>
                  <a:srgbClr val="FFFFFF"/>
                </a:solidFill>
                <a:latin typeface="Arial"/>
                <a:ea typeface="ＭＳ Ｐゴシック"/>
                <a:cs typeface="Arial"/>
              </a:rPr>
              <a:t>CDP</a:t>
            </a:r>
          </a:p>
        </p:txBody>
      </p:sp>
      <p:cxnSp>
        <p:nvCxnSpPr>
          <p:cNvPr id="304" name="Straight Connector 303">
            <a:extLst>
              <a:ext uri="{FF2B5EF4-FFF2-40B4-BE49-F238E27FC236}">
                <a16:creationId xmlns:a16="http://schemas.microsoft.com/office/drawing/2014/main" id="{84C38D1C-EAD4-4C14-A07C-CCAD5EE77F16}"/>
              </a:ext>
            </a:extLst>
          </p:cNvPr>
          <p:cNvCxnSpPr>
            <a:cxnSpLocks/>
          </p:cNvCxnSpPr>
          <p:nvPr/>
        </p:nvCxnSpPr>
        <p:spPr bwMode="auto">
          <a:xfrm>
            <a:off x="7196741" y="2259716"/>
            <a:ext cx="115099" cy="654845"/>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TextBox 59">
            <a:extLst>
              <a:ext uri="{FF2B5EF4-FFF2-40B4-BE49-F238E27FC236}">
                <a16:creationId xmlns:a16="http://schemas.microsoft.com/office/drawing/2014/main" id="{134A6AE7-3769-4F56-82F7-F283AA66F7CC}"/>
              </a:ext>
            </a:extLst>
          </p:cNvPr>
          <p:cNvSpPr txBox="1"/>
          <p:nvPr/>
        </p:nvSpPr>
        <p:spPr bwMode="auto">
          <a:xfrm>
            <a:off x="6995706" y="2497145"/>
            <a:ext cx="818940"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Transaction</a:t>
            </a:r>
          </a:p>
        </p:txBody>
      </p:sp>
      <p:sp>
        <p:nvSpPr>
          <p:cNvPr id="325" name="TextBox 324">
            <a:extLst>
              <a:ext uri="{FF2B5EF4-FFF2-40B4-BE49-F238E27FC236}">
                <a16:creationId xmlns:a16="http://schemas.microsoft.com/office/drawing/2014/main" id="{A26330CE-F199-474B-8FB4-56A28107F566}"/>
              </a:ext>
            </a:extLst>
          </p:cNvPr>
          <p:cNvSpPr txBox="1"/>
          <p:nvPr/>
        </p:nvSpPr>
        <p:spPr bwMode="auto">
          <a:xfrm>
            <a:off x="8571593" y="2672651"/>
            <a:ext cx="568060"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Master</a:t>
            </a:r>
          </a:p>
        </p:txBody>
      </p:sp>
      <p:sp>
        <p:nvSpPr>
          <p:cNvPr id="341" name="Flowchart: Magnetic Disk 340">
            <a:extLst>
              <a:ext uri="{FF2B5EF4-FFF2-40B4-BE49-F238E27FC236}">
                <a16:creationId xmlns:a16="http://schemas.microsoft.com/office/drawing/2014/main" id="{70E53CD0-2E44-453E-AC3C-171C4F94C25D}"/>
              </a:ext>
            </a:extLst>
          </p:cNvPr>
          <p:cNvSpPr/>
          <p:nvPr/>
        </p:nvSpPr>
        <p:spPr bwMode="auto">
          <a:xfrm>
            <a:off x="541703" y="3279331"/>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sp>
        <p:nvSpPr>
          <p:cNvPr id="342" name="Flowchart: Magnetic Disk 341">
            <a:extLst>
              <a:ext uri="{FF2B5EF4-FFF2-40B4-BE49-F238E27FC236}">
                <a16:creationId xmlns:a16="http://schemas.microsoft.com/office/drawing/2014/main" id="{BE5120CD-D455-455E-993F-95EC8AAF3E23}"/>
              </a:ext>
            </a:extLst>
          </p:cNvPr>
          <p:cNvSpPr/>
          <p:nvPr/>
        </p:nvSpPr>
        <p:spPr bwMode="auto">
          <a:xfrm>
            <a:off x="2295190" y="3675859"/>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sp>
        <p:nvSpPr>
          <p:cNvPr id="343" name="Flowchart: Magnetic Disk 342">
            <a:extLst>
              <a:ext uri="{FF2B5EF4-FFF2-40B4-BE49-F238E27FC236}">
                <a16:creationId xmlns:a16="http://schemas.microsoft.com/office/drawing/2014/main" id="{2BC6E223-744A-49DC-8467-864CF0CEC97F}"/>
              </a:ext>
            </a:extLst>
          </p:cNvPr>
          <p:cNvSpPr/>
          <p:nvPr/>
        </p:nvSpPr>
        <p:spPr bwMode="auto">
          <a:xfrm>
            <a:off x="3679380" y="3651455"/>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sp>
        <p:nvSpPr>
          <p:cNvPr id="345" name="Flowchart: Magnetic Disk 344">
            <a:extLst>
              <a:ext uri="{FF2B5EF4-FFF2-40B4-BE49-F238E27FC236}">
                <a16:creationId xmlns:a16="http://schemas.microsoft.com/office/drawing/2014/main" id="{5D7F1C6B-8D8A-4476-8427-5DF2DD9C585A}"/>
              </a:ext>
            </a:extLst>
          </p:cNvPr>
          <p:cNvSpPr/>
          <p:nvPr/>
        </p:nvSpPr>
        <p:spPr bwMode="auto">
          <a:xfrm>
            <a:off x="3117170" y="3268702"/>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grpSp>
        <p:nvGrpSpPr>
          <p:cNvPr id="349" name="Graphic 217" descr="Statistics">
            <a:extLst>
              <a:ext uri="{FF2B5EF4-FFF2-40B4-BE49-F238E27FC236}">
                <a16:creationId xmlns:a16="http://schemas.microsoft.com/office/drawing/2014/main" id="{97187749-C3B6-48FB-9B2A-E9011144C613}"/>
              </a:ext>
            </a:extLst>
          </p:cNvPr>
          <p:cNvGrpSpPr/>
          <p:nvPr/>
        </p:nvGrpSpPr>
        <p:grpSpPr>
          <a:xfrm>
            <a:off x="945446" y="3526449"/>
            <a:ext cx="299940" cy="252604"/>
            <a:chOff x="5863694" y="2917641"/>
            <a:chExt cx="224955" cy="189453"/>
          </a:xfrm>
        </p:grpSpPr>
        <p:sp>
          <p:nvSpPr>
            <p:cNvPr id="350" name="Freeform: Shape 349">
              <a:extLst>
                <a:ext uri="{FF2B5EF4-FFF2-40B4-BE49-F238E27FC236}">
                  <a16:creationId xmlns:a16="http://schemas.microsoft.com/office/drawing/2014/main" id="{36379064-151B-426A-B151-14EAE798679B}"/>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51" name="Freeform: Shape 350">
              <a:extLst>
                <a:ext uri="{FF2B5EF4-FFF2-40B4-BE49-F238E27FC236}">
                  <a16:creationId xmlns:a16="http://schemas.microsoft.com/office/drawing/2014/main" id="{90109B8C-98A6-4382-8ADD-2CE96189442F}"/>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352" name="Graphic 217" descr="Statistics">
            <a:extLst>
              <a:ext uri="{FF2B5EF4-FFF2-40B4-BE49-F238E27FC236}">
                <a16:creationId xmlns:a16="http://schemas.microsoft.com/office/drawing/2014/main" id="{06508EAB-4712-44D4-A7CA-439858EB282B}"/>
              </a:ext>
            </a:extLst>
          </p:cNvPr>
          <p:cNvGrpSpPr/>
          <p:nvPr/>
        </p:nvGrpSpPr>
        <p:grpSpPr>
          <a:xfrm>
            <a:off x="7128281" y="3774570"/>
            <a:ext cx="299940" cy="252604"/>
            <a:chOff x="5863694" y="2917641"/>
            <a:chExt cx="224955" cy="189453"/>
          </a:xfrm>
        </p:grpSpPr>
        <p:sp>
          <p:nvSpPr>
            <p:cNvPr id="353" name="Freeform: Shape 352">
              <a:extLst>
                <a:ext uri="{FF2B5EF4-FFF2-40B4-BE49-F238E27FC236}">
                  <a16:creationId xmlns:a16="http://schemas.microsoft.com/office/drawing/2014/main" id="{4174C75C-23AC-4E3A-B809-8FA068EC7BCE}"/>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54" name="Freeform: Shape 353">
              <a:extLst>
                <a:ext uri="{FF2B5EF4-FFF2-40B4-BE49-F238E27FC236}">
                  <a16:creationId xmlns:a16="http://schemas.microsoft.com/office/drawing/2014/main" id="{F19F92F0-00F3-42B0-A52E-6C49E076A6D1}"/>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356" name="Flowchart: Magnetic Disk 355">
            <a:extLst>
              <a:ext uri="{FF2B5EF4-FFF2-40B4-BE49-F238E27FC236}">
                <a16:creationId xmlns:a16="http://schemas.microsoft.com/office/drawing/2014/main" id="{ED4FC3FF-DD55-4783-89DB-CF3C1DCA134D}"/>
              </a:ext>
            </a:extLst>
          </p:cNvPr>
          <p:cNvSpPr/>
          <p:nvPr/>
        </p:nvSpPr>
        <p:spPr bwMode="auto">
          <a:xfrm>
            <a:off x="10842475" y="3567830"/>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grpSp>
        <p:nvGrpSpPr>
          <p:cNvPr id="358" name="Graphic 220" descr="Document">
            <a:extLst>
              <a:ext uri="{FF2B5EF4-FFF2-40B4-BE49-F238E27FC236}">
                <a16:creationId xmlns:a16="http://schemas.microsoft.com/office/drawing/2014/main" id="{66647D36-BC03-4E00-B6C9-D6C1CDD4D7D7}"/>
              </a:ext>
            </a:extLst>
          </p:cNvPr>
          <p:cNvGrpSpPr/>
          <p:nvPr/>
        </p:nvGrpSpPr>
        <p:grpSpPr>
          <a:xfrm>
            <a:off x="8511464" y="3795985"/>
            <a:ext cx="269512" cy="288665"/>
            <a:chOff x="7129418" y="2451503"/>
            <a:chExt cx="202134" cy="216499"/>
          </a:xfrm>
        </p:grpSpPr>
        <p:sp>
          <p:nvSpPr>
            <p:cNvPr id="359" name="Freeform: Shape 358">
              <a:extLst>
                <a:ext uri="{FF2B5EF4-FFF2-40B4-BE49-F238E27FC236}">
                  <a16:creationId xmlns:a16="http://schemas.microsoft.com/office/drawing/2014/main" id="{E65F5B26-4307-462F-9C4A-4A2B3D61BEFF}"/>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60" name="Freeform: Shape 359">
              <a:extLst>
                <a:ext uri="{FF2B5EF4-FFF2-40B4-BE49-F238E27FC236}">
                  <a16:creationId xmlns:a16="http://schemas.microsoft.com/office/drawing/2014/main" id="{2A8B10AF-BAE8-401A-A879-615EA0A47183}"/>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61" name="Freeform: Shape 360">
              <a:extLst>
                <a:ext uri="{FF2B5EF4-FFF2-40B4-BE49-F238E27FC236}">
                  <a16:creationId xmlns:a16="http://schemas.microsoft.com/office/drawing/2014/main" id="{3E469251-513D-49B8-9ADD-CE195B20544E}"/>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62" name="Freeform: Shape 361">
              <a:extLst>
                <a:ext uri="{FF2B5EF4-FFF2-40B4-BE49-F238E27FC236}">
                  <a16:creationId xmlns:a16="http://schemas.microsoft.com/office/drawing/2014/main" id="{02180BAB-AB8F-4F1F-82AF-4D537FD928EB}"/>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63" name="Freeform: Shape 362">
              <a:extLst>
                <a:ext uri="{FF2B5EF4-FFF2-40B4-BE49-F238E27FC236}">
                  <a16:creationId xmlns:a16="http://schemas.microsoft.com/office/drawing/2014/main" id="{0928B368-E51D-4D15-B3B2-744109844437}"/>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364" name="Freeform: Shape 363">
              <a:extLst>
                <a:ext uri="{FF2B5EF4-FFF2-40B4-BE49-F238E27FC236}">
                  <a16:creationId xmlns:a16="http://schemas.microsoft.com/office/drawing/2014/main" id="{8BD7EE89-6A3F-48D5-B245-C194CC72448C}"/>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486" name="Flowchart: Magnetic Disk 485">
            <a:extLst>
              <a:ext uri="{FF2B5EF4-FFF2-40B4-BE49-F238E27FC236}">
                <a16:creationId xmlns:a16="http://schemas.microsoft.com/office/drawing/2014/main" id="{B13FAFCD-4459-4F79-963C-F9B8066FD064}"/>
              </a:ext>
            </a:extLst>
          </p:cNvPr>
          <p:cNvSpPr/>
          <p:nvPr/>
        </p:nvSpPr>
        <p:spPr bwMode="auto">
          <a:xfrm>
            <a:off x="9781243" y="3987550"/>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cxnSp>
        <p:nvCxnSpPr>
          <p:cNvPr id="487" name="Straight Connector 486">
            <a:extLst>
              <a:ext uri="{FF2B5EF4-FFF2-40B4-BE49-F238E27FC236}">
                <a16:creationId xmlns:a16="http://schemas.microsoft.com/office/drawing/2014/main" id="{88817795-7CFC-4C6F-893D-45BC573E0633}"/>
              </a:ext>
            </a:extLst>
          </p:cNvPr>
          <p:cNvCxnSpPr>
            <a:cxnSpLocks/>
            <a:endCxn id="486" idx="1"/>
          </p:cNvCxnSpPr>
          <p:nvPr/>
        </p:nvCxnSpPr>
        <p:spPr bwMode="auto">
          <a:xfrm flipH="1">
            <a:off x="9936497" y="3019061"/>
            <a:ext cx="123387" cy="96848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8" name="Straight Connector 487">
            <a:extLst>
              <a:ext uri="{FF2B5EF4-FFF2-40B4-BE49-F238E27FC236}">
                <a16:creationId xmlns:a16="http://schemas.microsoft.com/office/drawing/2014/main" id="{F6BA7303-FF23-4A36-9AD7-E27D91EC1BFD}"/>
              </a:ext>
            </a:extLst>
          </p:cNvPr>
          <p:cNvCxnSpPr>
            <a:cxnSpLocks/>
            <a:endCxn id="489" idx="1"/>
          </p:cNvCxnSpPr>
          <p:nvPr/>
        </p:nvCxnSpPr>
        <p:spPr bwMode="auto">
          <a:xfrm>
            <a:off x="10432668" y="3034583"/>
            <a:ext cx="157485" cy="91806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9" name="Flowchart: Magnetic Disk 488">
            <a:extLst>
              <a:ext uri="{FF2B5EF4-FFF2-40B4-BE49-F238E27FC236}">
                <a16:creationId xmlns:a16="http://schemas.microsoft.com/office/drawing/2014/main" id="{FFF93722-FF17-4A90-B9CE-8D86260D049A}"/>
              </a:ext>
            </a:extLst>
          </p:cNvPr>
          <p:cNvSpPr/>
          <p:nvPr/>
        </p:nvSpPr>
        <p:spPr bwMode="auto">
          <a:xfrm>
            <a:off x="10434899" y="3952651"/>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grpSp>
        <p:nvGrpSpPr>
          <p:cNvPr id="490" name="Graphic 220" descr="Document">
            <a:extLst>
              <a:ext uri="{FF2B5EF4-FFF2-40B4-BE49-F238E27FC236}">
                <a16:creationId xmlns:a16="http://schemas.microsoft.com/office/drawing/2014/main" id="{B4473CC1-EAE5-4C1C-8D29-989F51A43670}"/>
              </a:ext>
            </a:extLst>
          </p:cNvPr>
          <p:cNvGrpSpPr/>
          <p:nvPr/>
        </p:nvGrpSpPr>
        <p:grpSpPr>
          <a:xfrm>
            <a:off x="6625592" y="3967024"/>
            <a:ext cx="269512" cy="288665"/>
            <a:chOff x="7129418" y="2451503"/>
            <a:chExt cx="202134" cy="216499"/>
          </a:xfrm>
        </p:grpSpPr>
        <p:sp>
          <p:nvSpPr>
            <p:cNvPr id="491" name="Freeform: Shape 490">
              <a:extLst>
                <a:ext uri="{FF2B5EF4-FFF2-40B4-BE49-F238E27FC236}">
                  <a16:creationId xmlns:a16="http://schemas.microsoft.com/office/drawing/2014/main" id="{56FC9DE3-FFB9-4B5C-807A-AFEC31A0216D}"/>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92" name="Freeform: Shape 491">
              <a:extLst>
                <a:ext uri="{FF2B5EF4-FFF2-40B4-BE49-F238E27FC236}">
                  <a16:creationId xmlns:a16="http://schemas.microsoft.com/office/drawing/2014/main" id="{F8013FBE-3E9D-463D-9F50-3A5389465ADF}"/>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93" name="Freeform: Shape 492">
              <a:extLst>
                <a:ext uri="{FF2B5EF4-FFF2-40B4-BE49-F238E27FC236}">
                  <a16:creationId xmlns:a16="http://schemas.microsoft.com/office/drawing/2014/main" id="{26D13131-D695-4BA3-9E5F-A598F109444C}"/>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94" name="Freeform: Shape 493">
              <a:extLst>
                <a:ext uri="{FF2B5EF4-FFF2-40B4-BE49-F238E27FC236}">
                  <a16:creationId xmlns:a16="http://schemas.microsoft.com/office/drawing/2014/main" id="{98E5E0D6-B395-4DE1-B677-930C9273F6B6}"/>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95" name="Freeform: Shape 494">
              <a:extLst>
                <a:ext uri="{FF2B5EF4-FFF2-40B4-BE49-F238E27FC236}">
                  <a16:creationId xmlns:a16="http://schemas.microsoft.com/office/drawing/2014/main" id="{798B271D-456B-4DC8-9580-A8C57705126E}"/>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96" name="Freeform: Shape 495">
              <a:extLst>
                <a:ext uri="{FF2B5EF4-FFF2-40B4-BE49-F238E27FC236}">
                  <a16:creationId xmlns:a16="http://schemas.microsoft.com/office/drawing/2014/main" id="{F321432E-2BD5-4E01-A8DB-C209F453A8AA}"/>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497" name="Graphic 217" descr="Statistics">
            <a:extLst>
              <a:ext uri="{FF2B5EF4-FFF2-40B4-BE49-F238E27FC236}">
                <a16:creationId xmlns:a16="http://schemas.microsoft.com/office/drawing/2014/main" id="{9DC26EF8-14E4-4BAE-BE23-859688448558}"/>
              </a:ext>
            </a:extLst>
          </p:cNvPr>
          <p:cNvGrpSpPr/>
          <p:nvPr/>
        </p:nvGrpSpPr>
        <p:grpSpPr>
          <a:xfrm>
            <a:off x="7973707" y="3967023"/>
            <a:ext cx="299940" cy="252604"/>
            <a:chOff x="5863694" y="2917641"/>
            <a:chExt cx="224955" cy="189453"/>
          </a:xfrm>
        </p:grpSpPr>
        <p:sp>
          <p:nvSpPr>
            <p:cNvPr id="498" name="Freeform: Shape 497">
              <a:extLst>
                <a:ext uri="{FF2B5EF4-FFF2-40B4-BE49-F238E27FC236}">
                  <a16:creationId xmlns:a16="http://schemas.microsoft.com/office/drawing/2014/main" id="{DFDF6C35-CC63-49F8-BC6E-1733DFA63B74}"/>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499" name="Freeform: Shape 498">
              <a:extLst>
                <a:ext uri="{FF2B5EF4-FFF2-40B4-BE49-F238E27FC236}">
                  <a16:creationId xmlns:a16="http://schemas.microsoft.com/office/drawing/2014/main" id="{8707E9C3-8404-4C5A-8864-00157F72FC0A}"/>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500" name="Flowchart: Magnetic Disk 499">
            <a:extLst>
              <a:ext uri="{FF2B5EF4-FFF2-40B4-BE49-F238E27FC236}">
                <a16:creationId xmlns:a16="http://schemas.microsoft.com/office/drawing/2014/main" id="{4223E783-B1DD-43D9-BF21-ED1CBEB473E0}"/>
              </a:ext>
            </a:extLst>
          </p:cNvPr>
          <p:cNvSpPr/>
          <p:nvPr/>
        </p:nvSpPr>
        <p:spPr bwMode="auto">
          <a:xfrm>
            <a:off x="9183226" y="3559023"/>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cxnSp>
        <p:nvCxnSpPr>
          <p:cNvPr id="240" name="Straight Arrow Connector 239">
            <a:extLst>
              <a:ext uri="{FF2B5EF4-FFF2-40B4-BE49-F238E27FC236}">
                <a16:creationId xmlns:a16="http://schemas.microsoft.com/office/drawing/2014/main" id="{696B3D81-D433-410F-A978-A2E91D3FF7FF}"/>
              </a:ext>
            </a:extLst>
          </p:cNvPr>
          <p:cNvCxnSpPr>
            <a:endCxn id="341" idx="1"/>
          </p:cNvCxnSpPr>
          <p:nvPr/>
        </p:nvCxnSpPr>
        <p:spPr bwMode="auto">
          <a:xfrm flipH="1">
            <a:off x="696958" y="2390935"/>
            <a:ext cx="217653" cy="888396"/>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2" name="TextBox 501">
            <a:extLst>
              <a:ext uri="{FF2B5EF4-FFF2-40B4-BE49-F238E27FC236}">
                <a16:creationId xmlns:a16="http://schemas.microsoft.com/office/drawing/2014/main" id="{36517B84-7DDA-464B-9AE1-E1C9ADD23ABE}"/>
              </a:ext>
            </a:extLst>
          </p:cNvPr>
          <p:cNvSpPr txBox="1"/>
          <p:nvPr/>
        </p:nvSpPr>
        <p:spPr bwMode="auto">
          <a:xfrm>
            <a:off x="9831855" y="2300381"/>
            <a:ext cx="493712"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Master</a:t>
            </a:r>
          </a:p>
        </p:txBody>
      </p:sp>
      <p:sp>
        <p:nvSpPr>
          <p:cNvPr id="192" name="Flowchart: Magnetic Disk 191">
            <a:extLst>
              <a:ext uri="{FF2B5EF4-FFF2-40B4-BE49-F238E27FC236}">
                <a16:creationId xmlns:a16="http://schemas.microsoft.com/office/drawing/2014/main" id="{C9A1E36D-0FA8-4BAC-BD24-C28CFABEA074}"/>
              </a:ext>
            </a:extLst>
          </p:cNvPr>
          <p:cNvSpPr/>
          <p:nvPr/>
        </p:nvSpPr>
        <p:spPr bwMode="auto">
          <a:xfrm>
            <a:off x="2667829" y="6242426"/>
            <a:ext cx="299940" cy="192997"/>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cxnSp>
        <p:nvCxnSpPr>
          <p:cNvPr id="193" name="Straight Arrow Connector 192">
            <a:extLst>
              <a:ext uri="{FF2B5EF4-FFF2-40B4-BE49-F238E27FC236}">
                <a16:creationId xmlns:a16="http://schemas.microsoft.com/office/drawing/2014/main" id="{E6182A86-3010-4242-A1D1-F6D0DF76E219}"/>
              </a:ext>
            </a:extLst>
          </p:cNvPr>
          <p:cNvCxnSpPr>
            <a:cxnSpLocks/>
          </p:cNvCxnSpPr>
          <p:nvPr/>
        </p:nvCxnSpPr>
        <p:spPr bwMode="auto">
          <a:xfrm flipH="1">
            <a:off x="1268400" y="1520465"/>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4" name="Straight Arrow Connector 213">
            <a:extLst>
              <a:ext uri="{FF2B5EF4-FFF2-40B4-BE49-F238E27FC236}">
                <a16:creationId xmlns:a16="http://schemas.microsoft.com/office/drawing/2014/main" id="{2EF303F2-4856-4758-98B4-BB2DF69ED2DE}"/>
              </a:ext>
            </a:extLst>
          </p:cNvPr>
          <p:cNvCxnSpPr>
            <a:cxnSpLocks/>
          </p:cNvCxnSpPr>
          <p:nvPr/>
        </p:nvCxnSpPr>
        <p:spPr bwMode="auto">
          <a:xfrm flipH="1">
            <a:off x="3381312" y="1416324"/>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 name="Straight Arrow Connector 214">
            <a:extLst>
              <a:ext uri="{FF2B5EF4-FFF2-40B4-BE49-F238E27FC236}">
                <a16:creationId xmlns:a16="http://schemas.microsoft.com/office/drawing/2014/main" id="{C378B6A3-FA9C-4811-9FFC-6EF786D529E0}"/>
              </a:ext>
            </a:extLst>
          </p:cNvPr>
          <p:cNvCxnSpPr>
            <a:cxnSpLocks/>
          </p:cNvCxnSpPr>
          <p:nvPr/>
        </p:nvCxnSpPr>
        <p:spPr bwMode="auto">
          <a:xfrm flipH="1">
            <a:off x="2775312" y="1557956"/>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6" name="Straight Arrow Connector 215">
            <a:extLst>
              <a:ext uri="{FF2B5EF4-FFF2-40B4-BE49-F238E27FC236}">
                <a16:creationId xmlns:a16="http://schemas.microsoft.com/office/drawing/2014/main" id="{8627451B-EBEC-4752-B5B6-90D2C0950B26}"/>
              </a:ext>
            </a:extLst>
          </p:cNvPr>
          <p:cNvCxnSpPr>
            <a:cxnSpLocks/>
          </p:cNvCxnSpPr>
          <p:nvPr/>
        </p:nvCxnSpPr>
        <p:spPr bwMode="auto">
          <a:xfrm flipH="1">
            <a:off x="4515473" y="1457804"/>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7" name="Straight Arrow Connector 216">
            <a:extLst>
              <a:ext uri="{FF2B5EF4-FFF2-40B4-BE49-F238E27FC236}">
                <a16:creationId xmlns:a16="http://schemas.microsoft.com/office/drawing/2014/main" id="{938EA00B-2096-4180-8263-DD8C283FD9B8}"/>
              </a:ext>
            </a:extLst>
          </p:cNvPr>
          <p:cNvCxnSpPr>
            <a:cxnSpLocks/>
          </p:cNvCxnSpPr>
          <p:nvPr/>
        </p:nvCxnSpPr>
        <p:spPr bwMode="auto">
          <a:xfrm flipH="1">
            <a:off x="5304454" y="1414637"/>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8" name="Straight Arrow Connector 217">
            <a:extLst>
              <a:ext uri="{FF2B5EF4-FFF2-40B4-BE49-F238E27FC236}">
                <a16:creationId xmlns:a16="http://schemas.microsoft.com/office/drawing/2014/main" id="{8613DD67-C278-4BD5-88EC-95974A5A0F33}"/>
              </a:ext>
            </a:extLst>
          </p:cNvPr>
          <p:cNvCxnSpPr>
            <a:cxnSpLocks/>
          </p:cNvCxnSpPr>
          <p:nvPr/>
        </p:nvCxnSpPr>
        <p:spPr bwMode="auto">
          <a:xfrm flipH="1">
            <a:off x="7211569" y="1455852"/>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9" name="Straight Arrow Connector 218">
            <a:extLst>
              <a:ext uri="{FF2B5EF4-FFF2-40B4-BE49-F238E27FC236}">
                <a16:creationId xmlns:a16="http://schemas.microsoft.com/office/drawing/2014/main" id="{339D165B-4DB1-456E-91EF-968EAE8002F0}"/>
              </a:ext>
            </a:extLst>
          </p:cNvPr>
          <p:cNvCxnSpPr>
            <a:cxnSpLocks/>
          </p:cNvCxnSpPr>
          <p:nvPr/>
        </p:nvCxnSpPr>
        <p:spPr bwMode="auto">
          <a:xfrm flipH="1">
            <a:off x="8612450" y="1528484"/>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0" name="Straight Arrow Connector 219">
            <a:extLst>
              <a:ext uri="{FF2B5EF4-FFF2-40B4-BE49-F238E27FC236}">
                <a16:creationId xmlns:a16="http://schemas.microsoft.com/office/drawing/2014/main" id="{E5060C36-7DEF-47FD-98B3-38ED3450DC38}"/>
              </a:ext>
            </a:extLst>
          </p:cNvPr>
          <p:cNvCxnSpPr>
            <a:cxnSpLocks/>
          </p:cNvCxnSpPr>
          <p:nvPr/>
        </p:nvCxnSpPr>
        <p:spPr bwMode="auto">
          <a:xfrm flipH="1">
            <a:off x="9214768" y="1440988"/>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1" name="Straight Arrow Connector 220">
            <a:extLst>
              <a:ext uri="{FF2B5EF4-FFF2-40B4-BE49-F238E27FC236}">
                <a16:creationId xmlns:a16="http://schemas.microsoft.com/office/drawing/2014/main" id="{6536F1A1-E4BA-4474-B5C4-8454AE8D55E7}"/>
              </a:ext>
            </a:extLst>
          </p:cNvPr>
          <p:cNvCxnSpPr>
            <a:cxnSpLocks/>
          </p:cNvCxnSpPr>
          <p:nvPr/>
        </p:nvCxnSpPr>
        <p:spPr bwMode="auto">
          <a:xfrm flipH="1">
            <a:off x="10421309" y="1427237"/>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 name="Straight Arrow Connector 221">
            <a:extLst>
              <a:ext uri="{FF2B5EF4-FFF2-40B4-BE49-F238E27FC236}">
                <a16:creationId xmlns:a16="http://schemas.microsoft.com/office/drawing/2014/main" id="{5895AC4F-56F4-4C33-852D-21930DEB226B}"/>
              </a:ext>
            </a:extLst>
          </p:cNvPr>
          <p:cNvCxnSpPr>
            <a:cxnSpLocks/>
          </p:cNvCxnSpPr>
          <p:nvPr/>
        </p:nvCxnSpPr>
        <p:spPr bwMode="auto">
          <a:xfrm flipH="1">
            <a:off x="11208130" y="1427236"/>
            <a:ext cx="2049" cy="409121"/>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3" name="TextBox 222">
            <a:extLst>
              <a:ext uri="{FF2B5EF4-FFF2-40B4-BE49-F238E27FC236}">
                <a16:creationId xmlns:a16="http://schemas.microsoft.com/office/drawing/2014/main" id="{FFB59666-A5C9-4C73-AC4E-A6E58D8D8883}"/>
              </a:ext>
            </a:extLst>
          </p:cNvPr>
          <p:cNvSpPr txBox="1"/>
          <p:nvPr/>
        </p:nvSpPr>
        <p:spPr bwMode="auto">
          <a:xfrm>
            <a:off x="3070845" y="6256850"/>
            <a:ext cx="1042659"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Source Systems</a:t>
            </a:r>
          </a:p>
        </p:txBody>
      </p:sp>
      <p:cxnSp>
        <p:nvCxnSpPr>
          <p:cNvPr id="224" name="Straight Arrow Connector 223">
            <a:extLst>
              <a:ext uri="{FF2B5EF4-FFF2-40B4-BE49-F238E27FC236}">
                <a16:creationId xmlns:a16="http://schemas.microsoft.com/office/drawing/2014/main" id="{A412EC24-4C51-441D-9852-CFEA40760958}"/>
              </a:ext>
            </a:extLst>
          </p:cNvPr>
          <p:cNvCxnSpPr>
            <a:cxnSpLocks/>
          </p:cNvCxnSpPr>
          <p:nvPr/>
        </p:nvCxnSpPr>
        <p:spPr bwMode="auto">
          <a:xfrm flipV="1">
            <a:off x="4465484" y="6317282"/>
            <a:ext cx="344840" cy="14433"/>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5" name="TextBox 224">
            <a:extLst>
              <a:ext uri="{FF2B5EF4-FFF2-40B4-BE49-F238E27FC236}">
                <a16:creationId xmlns:a16="http://schemas.microsoft.com/office/drawing/2014/main" id="{2D560497-D54C-4C3A-81F2-EE80BD4B20BD}"/>
              </a:ext>
            </a:extLst>
          </p:cNvPr>
          <p:cNvSpPr txBox="1"/>
          <p:nvPr/>
        </p:nvSpPr>
        <p:spPr bwMode="auto">
          <a:xfrm>
            <a:off x="4755029" y="6242426"/>
            <a:ext cx="1554332"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  Workforce data entry</a:t>
            </a:r>
          </a:p>
        </p:txBody>
      </p:sp>
      <p:cxnSp>
        <p:nvCxnSpPr>
          <p:cNvPr id="226" name="Straight Connector 225">
            <a:extLst>
              <a:ext uri="{FF2B5EF4-FFF2-40B4-BE49-F238E27FC236}">
                <a16:creationId xmlns:a16="http://schemas.microsoft.com/office/drawing/2014/main" id="{D55E0A31-51F7-43BB-9A8A-EFC26BC1AA5D}"/>
              </a:ext>
            </a:extLst>
          </p:cNvPr>
          <p:cNvCxnSpPr>
            <a:cxnSpLocks/>
          </p:cNvCxnSpPr>
          <p:nvPr/>
        </p:nvCxnSpPr>
        <p:spPr bwMode="auto">
          <a:xfrm>
            <a:off x="6456445" y="6293591"/>
            <a:ext cx="389476" cy="0"/>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7" name="Flowchart: Magnetic Disk 226">
            <a:extLst>
              <a:ext uri="{FF2B5EF4-FFF2-40B4-BE49-F238E27FC236}">
                <a16:creationId xmlns:a16="http://schemas.microsoft.com/office/drawing/2014/main" id="{A160759D-E9F6-48E5-B44F-4B7DD79C997C}"/>
              </a:ext>
            </a:extLst>
          </p:cNvPr>
          <p:cNvSpPr/>
          <p:nvPr/>
        </p:nvSpPr>
        <p:spPr bwMode="auto">
          <a:xfrm>
            <a:off x="4444519" y="6453729"/>
            <a:ext cx="310509" cy="189964"/>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sp>
        <p:nvSpPr>
          <p:cNvPr id="237" name="TextBox 236">
            <a:extLst>
              <a:ext uri="{FF2B5EF4-FFF2-40B4-BE49-F238E27FC236}">
                <a16:creationId xmlns:a16="http://schemas.microsoft.com/office/drawing/2014/main" id="{112A5222-6BCD-499B-ACC6-7B9C8BA87C68}"/>
              </a:ext>
            </a:extLst>
          </p:cNvPr>
          <p:cNvSpPr txBox="1"/>
          <p:nvPr/>
        </p:nvSpPr>
        <p:spPr bwMode="auto">
          <a:xfrm>
            <a:off x="4854857" y="6466637"/>
            <a:ext cx="1334649"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Downstream Systems</a:t>
            </a:r>
          </a:p>
        </p:txBody>
      </p:sp>
      <p:sp>
        <p:nvSpPr>
          <p:cNvPr id="238" name="TextBox 237">
            <a:extLst>
              <a:ext uri="{FF2B5EF4-FFF2-40B4-BE49-F238E27FC236}">
                <a16:creationId xmlns:a16="http://schemas.microsoft.com/office/drawing/2014/main" id="{1B1B9A23-B6B6-4034-8CDD-6B22323D633D}"/>
              </a:ext>
            </a:extLst>
          </p:cNvPr>
          <p:cNvSpPr txBox="1"/>
          <p:nvPr/>
        </p:nvSpPr>
        <p:spPr bwMode="auto">
          <a:xfrm>
            <a:off x="6816146" y="6211520"/>
            <a:ext cx="1841925"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  One directional data flow</a:t>
            </a:r>
          </a:p>
        </p:txBody>
      </p:sp>
      <p:sp>
        <p:nvSpPr>
          <p:cNvPr id="239" name="TextBox 238">
            <a:extLst>
              <a:ext uri="{FF2B5EF4-FFF2-40B4-BE49-F238E27FC236}">
                <a16:creationId xmlns:a16="http://schemas.microsoft.com/office/drawing/2014/main" id="{D9E698D7-1F41-46FE-98EC-7E5694F4A52A}"/>
              </a:ext>
            </a:extLst>
          </p:cNvPr>
          <p:cNvSpPr txBox="1"/>
          <p:nvPr/>
        </p:nvSpPr>
        <p:spPr bwMode="auto">
          <a:xfrm>
            <a:off x="8787543" y="6235208"/>
            <a:ext cx="1628311"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   Bi-directional data flows</a:t>
            </a:r>
          </a:p>
        </p:txBody>
      </p:sp>
      <p:cxnSp>
        <p:nvCxnSpPr>
          <p:cNvPr id="241" name="Straight Connector 240">
            <a:extLst>
              <a:ext uri="{FF2B5EF4-FFF2-40B4-BE49-F238E27FC236}">
                <a16:creationId xmlns:a16="http://schemas.microsoft.com/office/drawing/2014/main" id="{75252FB4-6B74-4092-A589-7060484D7BA8}"/>
              </a:ext>
            </a:extLst>
          </p:cNvPr>
          <p:cNvCxnSpPr>
            <a:cxnSpLocks/>
          </p:cNvCxnSpPr>
          <p:nvPr/>
        </p:nvCxnSpPr>
        <p:spPr bwMode="auto">
          <a:xfrm>
            <a:off x="8496762" y="6317280"/>
            <a:ext cx="389476" cy="0"/>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2" name="Flowchart: Magnetic Disk 241">
            <a:extLst>
              <a:ext uri="{FF2B5EF4-FFF2-40B4-BE49-F238E27FC236}">
                <a16:creationId xmlns:a16="http://schemas.microsoft.com/office/drawing/2014/main" id="{34F00680-F2C0-4BAC-B8E9-D580D2D7CC17}"/>
              </a:ext>
            </a:extLst>
          </p:cNvPr>
          <p:cNvSpPr/>
          <p:nvPr/>
        </p:nvSpPr>
        <p:spPr bwMode="auto">
          <a:xfrm>
            <a:off x="2679014" y="6522639"/>
            <a:ext cx="279071" cy="171749"/>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70" fontAlgn="base">
              <a:spcBef>
                <a:spcPct val="0"/>
              </a:spcBef>
              <a:spcAft>
                <a:spcPts val="451"/>
              </a:spcAft>
              <a:buClr>
                <a:srgbClr val="55555A"/>
              </a:buClr>
            </a:pPr>
            <a:endParaRPr lang="en-GB" sz="900" b="1" kern="0">
              <a:solidFill>
                <a:srgbClr val="FFFFFF"/>
              </a:solidFill>
              <a:latin typeface="Arial"/>
              <a:ea typeface="ＭＳ Ｐゴシック"/>
              <a:cs typeface="Arial"/>
            </a:endParaRPr>
          </a:p>
        </p:txBody>
      </p:sp>
      <p:sp>
        <p:nvSpPr>
          <p:cNvPr id="243" name="TextBox 242">
            <a:extLst>
              <a:ext uri="{FF2B5EF4-FFF2-40B4-BE49-F238E27FC236}">
                <a16:creationId xmlns:a16="http://schemas.microsoft.com/office/drawing/2014/main" id="{D667337C-B961-4C78-9EB6-3BA6912471F8}"/>
              </a:ext>
            </a:extLst>
          </p:cNvPr>
          <p:cNvSpPr txBox="1"/>
          <p:nvPr/>
        </p:nvSpPr>
        <p:spPr bwMode="auto">
          <a:xfrm>
            <a:off x="3086305" y="6530239"/>
            <a:ext cx="1042659"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MDM/CDP</a:t>
            </a:r>
          </a:p>
        </p:txBody>
      </p:sp>
      <p:grpSp>
        <p:nvGrpSpPr>
          <p:cNvPr id="244" name="Graphic 217" descr="Statistics">
            <a:extLst>
              <a:ext uri="{FF2B5EF4-FFF2-40B4-BE49-F238E27FC236}">
                <a16:creationId xmlns:a16="http://schemas.microsoft.com/office/drawing/2014/main" id="{6121FDC0-944B-4408-90D5-EDD9EB78C940}"/>
              </a:ext>
            </a:extLst>
          </p:cNvPr>
          <p:cNvGrpSpPr/>
          <p:nvPr/>
        </p:nvGrpSpPr>
        <p:grpSpPr>
          <a:xfrm>
            <a:off x="6524723" y="6423721"/>
            <a:ext cx="290523" cy="201204"/>
            <a:chOff x="5863694" y="2917641"/>
            <a:chExt cx="224955" cy="189453"/>
          </a:xfrm>
        </p:grpSpPr>
        <p:sp>
          <p:nvSpPr>
            <p:cNvPr id="245" name="Freeform: Shape 244">
              <a:extLst>
                <a:ext uri="{FF2B5EF4-FFF2-40B4-BE49-F238E27FC236}">
                  <a16:creationId xmlns:a16="http://schemas.microsoft.com/office/drawing/2014/main" id="{17FAEF37-9FF6-41EA-999A-A0AC917E6D50}"/>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246" name="Freeform: Shape 245">
              <a:extLst>
                <a:ext uri="{FF2B5EF4-FFF2-40B4-BE49-F238E27FC236}">
                  <a16:creationId xmlns:a16="http://schemas.microsoft.com/office/drawing/2014/main" id="{0E6A9EDA-075A-4B16-B56B-D3584FE55DCF}"/>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grpSp>
        <p:nvGrpSpPr>
          <p:cNvPr id="247" name="Graphic 220" descr="Document">
            <a:extLst>
              <a:ext uri="{FF2B5EF4-FFF2-40B4-BE49-F238E27FC236}">
                <a16:creationId xmlns:a16="http://schemas.microsoft.com/office/drawing/2014/main" id="{66B3A59C-7DDD-419E-A67D-C4C1B83843DE}"/>
              </a:ext>
            </a:extLst>
          </p:cNvPr>
          <p:cNvGrpSpPr/>
          <p:nvPr/>
        </p:nvGrpSpPr>
        <p:grpSpPr>
          <a:xfrm>
            <a:off x="8607861" y="6415246"/>
            <a:ext cx="237668" cy="228444"/>
            <a:chOff x="7129418" y="2451503"/>
            <a:chExt cx="202134" cy="216499"/>
          </a:xfrm>
        </p:grpSpPr>
        <p:sp>
          <p:nvSpPr>
            <p:cNvPr id="248" name="Freeform: Shape 247">
              <a:extLst>
                <a:ext uri="{FF2B5EF4-FFF2-40B4-BE49-F238E27FC236}">
                  <a16:creationId xmlns:a16="http://schemas.microsoft.com/office/drawing/2014/main" id="{E1E995D2-BE69-4B61-BA3A-441BD36BA21F}"/>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249" name="Freeform: Shape 248">
              <a:extLst>
                <a:ext uri="{FF2B5EF4-FFF2-40B4-BE49-F238E27FC236}">
                  <a16:creationId xmlns:a16="http://schemas.microsoft.com/office/drawing/2014/main" id="{6CA80505-5030-4C20-9412-278459F106F3}"/>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251" name="Freeform: Shape 250">
              <a:extLst>
                <a:ext uri="{FF2B5EF4-FFF2-40B4-BE49-F238E27FC236}">
                  <a16:creationId xmlns:a16="http://schemas.microsoft.com/office/drawing/2014/main" id="{9C3D89C7-D1A3-4E09-8BA3-079F3EBD9DA9}"/>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252" name="Freeform: Shape 251">
              <a:extLst>
                <a:ext uri="{FF2B5EF4-FFF2-40B4-BE49-F238E27FC236}">
                  <a16:creationId xmlns:a16="http://schemas.microsoft.com/office/drawing/2014/main" id="{D0545923-9D29-4F90-B724-CD4E08FD5E1B}"/>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253" name="Freeform: Shape 252">
              <a:extLst>
                <a:ext uri="{FF2B5EF4-FFF2-40B4-BE49-F238E27FC236}">
                  <a16:creationId xmlns:a16="http://schemas.microsoft.com/office/drawing/2014/main" id="{D768FE46-F114-4180-92E2-181E1AC7A847}"/>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sp>
          <p:nvSpPr>
            <p:cNvPr id="254" name="Freeform: Shape 253">
              <a:extLst>
                <a:ext uri="{FF2B5EF4-FFF2-40B4-BE49-F238E27FC236}">
                  <a16:creationId xmlns:a16="http://schemas.microsoft.com/office/drawing/2014/main" id="{5805780C-FDC2-4C0C-9ACE-29D0832AB6F0}"/>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grpSp>
      <p:sp>
        <p:nvSpPr>
          <p:cNvPr id="255" name="TextBox 254">
            <a:extLst>
              <a:ext uri="{FF2B5EF4-FFF2-40B4-BE49-F238E27FC236}">
                <a16:creationId xmlns:a16="http://schemas.microsoft.com/office/drawing/2014/main" id="{265FD490-A550-47B7-974B-2B7D2971613E}"/>
              </a:ext>
            </a:extLst>
          </p:cNvPr>
          <p:cNvSpPr txBox="1"/>
          <p:nvPr/>
        </p:nvSpPr>
        <p:spPr bwMode="auto">
          <a:xfrm>
            <a:off x="6887043" y="6470412"/>
            <a:ext cx="1048639"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BI Reports</a:t>
            </a:r>
          </a:p>
        </p:txBody>
      </p:sp>
      <p:sp>
        <p:nvSpPr>
          <p:cNvPr id="256" name="TextBox 255">
            <a:extLst>
              <a:ext uri="{FF2B5EF4-FFF2-40B4-BE49-F238E27FC236}">
                <a16:creationId xmlns:a16="http://schemas.microsoft.com/office/drawing/2014/main" id="{3A9ECE14-6525-4D31-A827-104C5333080E}"/>
              </a:ext>
            </a:extLst>
          </p:cNvPr>
          <p:cNvSpPr txBox="1"/>
          <p:nvPr/>
        </p:nvSpPr>
        <p:spPr bwMode="auto">
          <a:xfrm>
            <a:off x="8915312" y="6481176"/>
            <a:ext cx="904277"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067" kern="0">
                <a:solidFill>
                  <a:srgbClr val="55555A"/>
                </a:solidFill>
                <a:latin typeface="Arial"/>
                <a:ea typeface="ＭＳ Ｐゴシック"/>
              </a:rPr>
              <a:t>Extracts</a:t>
            </a:r>
          </a:p>
        </p:txBody>
      </p:sp>
      <p:sp>
        <p:nvSpPr>
          <p:cNvPr id="257" name="TextBox 256">
            <a:extLst>
              <a:ext uri="{FF2B5EF4-FFF2-40B4-BE49-F238E27FC236}">
                <a16:creationId xmlns:a16="http://schemas.microsoft.com/office/drawing/2014/main" id="{BED1CD7F-5E08-4F13-9BE0-1CD556AB55D3}"/>
              </a:ext>
            </a:extLst>
          </p:cNvPr>
          <p:cNvSpPr txBox="1"/>
          <p:nvPr/>
        </p:nvSpPr>
        <p:spPr bwMode="auto">
          <a:xfrm>
            <a:off x="5992898" y="6020759"/>
            <a:ext cx="1554332"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US" sz="1333" b="1" kern="0">
                <a:solidFill>
                  <a:srgbClr val="55555A"/>
                </a:solidFill>
                <a:latin typeface="Arial"/>
                <a:ea typeface="ＭＳ Ｐゴシック"/>
              </a:rPr>
              <a:t>Legend</a:t>
            </a:r>
          </a:p>
        </p:txBody>
      </p:sp>
      <p:sp>
        <p:nvSpPr>
          <p:cNvPr id="258" name="Graphic 214" descr="Paper">
            <a:extLst>
              <a:ext uri="{FF2B5EF4-FFF2-40B4-BE49-F238E27FC236}">
                <a16:creationId xmlns:a16="http://schemas.microsoft.com/office/drawing/2014/main" id="{27B338E5-568D-46DC-B1A2-A65CDF7721FE}"/>
              </a:ext>
            </a:extLst>
          </p:cNvPr>
          <p:cNvSpPr/>
          <p:nvPr/>
        </p:nvSpPr>
        <p:spPr>
          <a:xfrm>
            <a:off x="8385955" y="6408031"/>
            <a:ext cx="205572" cy="235660"/>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pPr defTabSz="1219170" fontAlgn="base">
              <a:spcBef>
                <a:spcPct val="0"/>
              </a:spcBef>
              <a:spcAft>
                <a:spcPts val="800"/>
              </a:spcAft>
              <a:buClr>
                <a:srgbClr val="55555A"/>
              </a:buClr>
            </a:pPr>
            <a:endParaRPr lang="en-US" sz="2400" b="1" kern="0">
              <a:solidFill>
                <a:srgbClr val="00148C"/>
              </a:solidFill>
              <a:latin typeface="Arial"/>
              <a:ea typeface="ＭＳ Ｐゴシック"/>
            </a:endParaRPr>
          </a:p>
        </p:txBody>
      </p:sp>
      <p:pic>
        <p:nvPicPr>
          <p:cNvPr id="26" name="Graphic 25" descr="Universal Access">
            <a:extLst>
              <a:ext uri="{FF2B5EF4-FFF2-40B4-BE49-F238E27FC236}">
                <a16:creationId xmlns:a16="http://schemas.microsoft.com/office/drawing/2014/main" id="{71A11D1B-C3AA-4F8F-B425-6BDF5A74E4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93636" y="2609158"/>
            <a:ext cx="433737" cy="433737"/>
          </a:xfrm>
          <a:prstGeom prst="rect">
            <a:avLst/>
          </a:prstGeom>
        </p:spPr>
      </p:pic>
      <p:sp>
        <p:nvSpPr>
          <p:cNvPr id="265" name="TextBox 264">
            <a:extLst>
              <a:ext uri="{FF2B5EF4-FFF2-40B4-BE49-F238E27FC236}">
                <a16:creationId xmlns:a16="http://schemas.microsoft.com/office/drawing/2014/main" id="{D884318E-8039-4E88-97EC-BD9AB2F1037D}"/>
              </a:ext>
            </a:extLst>
          </p:cNvPr>
          <p:cNvSpPr txBox="1"/>
          <p:nvPr/>
        </p:nvSpPr>
        <p:spPr bwMode="auto">
          <a:xfrm>
            <a:off x="11197610" y="2949585"/>
            <a:ext cx="568060" cy="32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1219170" fontAlgn="base">
              <a:spcBef>
                <a:spcPct val="0"/>
              </a:spcBef>
              <a:spcAft>
                <a:spcPts val="800"/>
              </a:spcAft>
              <a:buClr>
                <a:srgbClr val="55555A"/>
              </a:buClr>
            </a:pPr>
            <a:r>
              <a:rPr lang="en-US" sz="1067" b="1" kern="0">
                <a:solidFill>
                  <a:srgbClr val="55555A"/>
                </a:solidFill>
                <a:latin typeface="Arial"/>
                <a:ea typeface="ＭＳ Ｐゴシック"/>
              </a:rPr>
              <a:t>Data Steward</a:t>
            </a:r>
          </a:p>
        </p:txBody>
      </p:sp>
      <p:cxnSp>
        <p:nvCxnSpPr>
          <p:cNvPr id="266" name="Straight Connector 265">
            <a:extLst>
              <a:ext uri="{FF2B5EF4-FFF2-40B4-BE49-F238E27FC236}">
                <a16:creationId xmlns:a16="http://schemas.microsoft.com/office/drawing/2014/main" id="{6A3DB025-B8DD-43FA-8002-200F7E0746FE}"/>
              </a:ext>
            </a:extLst>
          </p:cNvPr>
          <p:cNvCxnSpPr>
            <a:cxnSpLocks/>
            <a:stCxn id="26" idx="1"/>
            <a:endCxn id="306" idx="3"/>
          </p:cNvCxnSpPr>
          <p:nvPr/>
        </p:nvCxnSpPr>
        <p:spPr bwMode="auto">
          <a:xfrm flipH="1" flipV="1">
            <a:off x="11042127" y="2823562"/>
            <a:ext cx="251508" cy="2465"/>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571603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Why you need a business roadmap - HRKilns">
            <a:extLst>
              <a:ext uri="{FF2B5EF4-FFF2-40B4-BE49-F238E27FC236}">
                <a16:creationId xmlns:a16="http://schemas.microsoft.com/office/drawing/2014/main" id="{BFFB68BF-2611-4426-9882-D33C071B5F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1530" y="174081"/>
            <a:ext cx="9383150" cy="614642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FCA6443D-C413-4127-9749-B1FBAA3CB4CA}"/>
              </a:ext>
            </a:extLst>
          </p:cNvPr>
          <p:cNvPicPr>
            <a:picLocks noChangeAspect="1"/>
          </p:cNvPicPr>
          <p:nvPr/>
        </p:nvPicPr>
        <p:blipFill>
          <a:blip r:embed="rId3"/>
          <a:stretch>
            <a:fillRect/>
          </a:stretch>
        </p:blipFill>
        <p:spPr>
          <a:xfrm>
            <a:off x="661305" y="3791124"/>
            <a:ext cx="1329409" cy="8333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le 1">
            <a:extLst>
              <a:ext uri="{FF2B5EF4-FFF2-40B4-BE49-F238E27FC236}">
                <a16:creationId xmlns:a16="http://schemas.microsoft.com/office/drawing/2014/main" id="{C53AC154-8083-4351-B327-08DDEC7E9E2E}"/>
              </a:ext>
            </a:extLst>
          </p:cNvPr>
          <p:cNvSpPr>
            <a:spLocks noGrp="1"/>
          </p:cNvSpPr>
          <p:nvPr>
            <p:ph type="title"/>
          </p:nvPr>
        </p:nvSpPr>
        <p:spPr/>
        <p:txBody>
          <a:bodyPr/>
          <a:lstStyle/>
          <a:p>
            <a:r>
              <a:rPr lang="en-GB"/>
              <a:t>What’s been done</a:t>
            </a:r>
          </a:p>
        </p:txBody>
      </p:sp>
      <p:sp>
        <p:nvSpPr>
          <p:cNvPr id="5" name="Rectangle 4">
            <a:extLst>
              <a:ext uri="{FF2B5EF4-FFF2-40B4-BE49-F238E27FC236}">
                <a16:creationId xmlns:a16="http://schemas.microsoft.com/office/drawing/2014/main" id="{6DB10EC5-1D60-4976-A45B-66DB6F543E95}"/>
              </a:ext>
            </a:extLst>
          </p:cNvPr>
          <p:cNvSpPr/>
          <p:nvPr/>
        </p:nvSpPr>
        <p:spPr>
          <a:xfrm>
            <a:off x="6236990" y="4136099"/>
            <a:ext cx="1605504" cy="461665"/>
          </a:xfrm>
          <a:prstGeom prst="rect">
            <a:avLst/>
          </a:prstGeom>
        </p:spPr>
        <p:txBody>
          <a:bodyPr wrap="square">
            <a:spAutoFit/>
          </a:bodyPr>
          <a:lstStyle/>
          <a:p>
            <a:pPr algn="ctr"/>
            <a:r>
              <a:rPr lang="en-GB" sz="1200">
                <a:solidFill>
                  <a:srgbClr val="00148C"/>
                </a:solidFill>
                <a:cs typeface="Arial"/>
              </a:rPr>
              <a:t>Data use cases / Pain point identified</a:t>
            </a:r>
            <a:endParaRPr lang="en-GB" sz="1200"/>
          </a:p>
        </p:txBody>
      </p:sp>
      <p:sp>
        <p:nvSpPr>
          <p:cNvPr id="7" name="Rectangle 6">
            <a:extLst>
              <a:ext uri="{FF2B5EF4-FFF2-40B4-BE49-F238E27FC236}">
                <a16:creationId xmlns:a16="http://schemas.microsoft.com/office/drawing/2014/main" id="{D2D7F1D2-BA69-4C17-9AA0-FBC09BD0B28C}"/>
              </a:ext>
            </a:extLst>
          </p:cNvPr>
          <p:cNvSpPr/>
          <p:nvPr/>
        </p:nvSpPr>
        <p:spPr>
          <a:xfrm>
            <a:off x="951662" y="2616732"/>
            <a:ext cx="1939690" cy="646331"/>
          </a:xfrm>
          <a:prstGeom prst="rect">
            <a:avLst/>
          </a:prstGeom>
        </p:spPr>
        <p:txBody>
          <a:bodyPr wrap="square">
            <a:spAutoFit/>
          </a:bodyPr>
          <a:lstStyle/>
          <a:p>
            <a:pPr algn="ctr"/>
            <a:r>
              <a:rPr lang="en-GB" sz="1200">
                <a:solidFill>
                  <a:srgbClr val="00148C"/>
                </a:solidFill>
                <a:cs typeface="Arial"/>
              </a:rPr>
              <a:t>Domain maturity baselined &amp; Governance model built</a:t>
            </a:r>
            <a:endParaRPr lang="en-GB" sz="1200"/>
          </a:p>
        </p:txBody>
      </p:sp>
      <p:sp>
        <p:nvSpPr>
          <p:cNvPr id="8" name="Rectangle 7">
            <a:extLst>
              <a:ext uri="{FF2B5EF4-FFF2-40B4-BE49-F238E27FC236}">
                <a16:creationId xmlns:a16="http://schemas.microsoft.com/office/drawing/2014/main" id="{14889BC9-74E0-44A4-9538-52D4D5C3D5B7}"/>
              </a:ext>
            </a:extLst>
          </p:cNvPr>
          <p:cNvSpPr/>
          <p:nvPr/>
        </p:nvSpPr>
        <p:spPr>
          <a:xfrm>
            <a:off x="3723700" y="1579003"/>
            <a:ext cx="1911699" cy="461665"/>
          </a:xfrm>
          <a:prstGeom prst="rect">
            <a:avLst/>
          </a:prstGeom>
        </p:spPr>
        <p:txBody>
          <a:bodyPr wrap="square">
            <a:spAutoFit/>
          </a:bodyPr>
          <a:lstStyle/>
          <a:p>
            <a:pPr algn="ctr"/>
            <a:r>
              <a:rPr lang="en-GB" sz="1200">
                <a:solidFill>
                  <a:srgbClr val="00148C"/>
                </a:solidFill>
                <a:cs typeface="Arial"/>
              </a:rPr>
              <a:t>Logical &amp; conceptual data model established</a:t>
            </a:r>
            <a:endParaRPr lang="en-GB" sz="1200"/>
          </a:p>
        </p:txBody>
      </p:sp>
      <p:sp>
        <p:nvSpPr>
          <p:cNvPr id="10" name="Rectangle 9">
            <a:extLst>
              <a:ext uri="{FF2B5EF4-FFF2-40B4-BE49-F238E27FC236}">
                <a16:creationId xmlns:a16="http://schemas.microsoft.com/office/drawing/2014/main" id="{3132FE44-716F-4E3D-B99C-E6B969601004}"/>
              </a:ext>
            </a:extLst>
          </p:cNvPr>
          <p:cNvSpPr/>
          <p:nvPr/>
        </p:nvSpPr>
        <p:spPr>
          <a:xfrm>
            <a:off x="5508435" y="356766"/>
            <a:ext cx="1829494" cy="461665"/>
          </a:xfrm>
          <a:prstGeom prst="rect">
            <a:avLst/>
          </a:prstGeom>
        </p:spPr>
        <p:txBody>
          <a:bodyPr wrap="square">
            <a:spAutoFit/>
          </a:bodyPr>
          <a:lstStyle/>
          <a:p>
            <a:pPr algn="ctr"/>
            <a:r>
              <a:rPr lang="en-GB" sz="1200">
                <a:solidFill>
                  <a:srgbClr val="00148C"/>
                </a:solidFill>
                <a:cs typeface="Arial"/>
              </a:rPr>
              <a:t>DQ reporting / Manual DQ remediation</a:t>
            </a:r>
            <a:endParaRPr lang="en-GB" sz="1200"/>
          </a:p>
        </p:txBody>
      </p:sp>
      <p:sp>
        <p:nvSpPr>
          <p:cNvPr id="11" name="Rectangle 10">
            <a:extLst>
              <a:ext uri="{FF2B5EF4-FFF2-40B4-BE49-F238E27FC236}">
                <a16:creationId xmlns:a16="http://schemas.microsoft.com/office/drawing/2014/main" id="{45167BDF-D099-415A-AB23-E2DBDD0A2D92}"/>
              </a:ext>
            </a:extLst>
          </p:cNvPr>
          <p:cNvSpPr/>
          <p:nvPr/>
        </p:nvSpPr>
        <p:spPr>
          <a:xfrm>
            <a:off x="8615189" y="32402"/>
            <a:ext cx="2159300" cy="461665"/>
          </a:xfrm>
          <a:prstGeom prst="rect">
            <a:avLst/>
          </a:prstGeom>
        </p:spPr>
        <p:txBody>
          <a:bodyPr wrap="square">
            <a:spAutoFit/>
          </a:bodyPr>
          <a:lstStyle/>
          <a:p>
            <a:pPr algn="ctr"/>
            <a:r>
              <a:rPr lang="en-GB" sz="1200">
                <a:solidFill>
                  <a:srgbClr val="00148C"/>
                </a:solidFill>
                <a:cs typeface="Arial"/>
              </a:rPr>
              <a:t>Domain vision, strategy, roadmap and business case </a:t>
            </a:r>
            <a:endParaRPr lang="en-GB" sz="1200"/>
          </a:p>
        </p:txBody>
      </p:sp>
      <p:pic>
        <p:nvPicPr>
          <p:cNvPr id="6" name="Picture 5">
            <a:extLst>
              <a:ext uri="{FF2B5EF4-FFF2-40B4-BE49-F238E27FC236}">
                <a16:creationId xmlns:a16="http://schemas.microsoft.com/office/drawing/2014/main" id="{CDC22815-43A8-4126-BBA4-B5DEEBFA0C68}"/>
              </a:ext>
            </a:extLst>
          </p:cNvPr>
          <p:cNvPicPr>
            <a:picLocks noChangeAspect="1"/>
          </p:cNvPicPr>
          <p:nvPr/>
        </p:nvPicPr>
        <p:blipFill>
          <a:blip r:embed="rId4"/>
          <a:stretch>
            <a:fillRect/>
          </a:stretch>
        </p:blipFill>
        <p:spPr>
          <a:xfrm>
            <a:off x="3921009" y="2046375"/>
            <a:ext cx="1174601" cy="6885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a:extLst>
              <a:ext uri="{FF2B5EF4-FFF2-40B4-BE49-F238E27FC236}">
                <a16:creationId xmlns:a16="http://schemas.microsoft.com/office/drawing/2014/main" id="{065D2195-5028-4497-A068-C90020324687}"/>
              </a:ext>
            </a:extLst>
          </p:cNvPr>
          <p:cNvPicPr>
            <a:picLocks noChangeAspect="1"/>
          </p:cNvPicPr>
          <p:nvPr/>
        </p:nvPicPr>
        <p:blipFill>
          <a:blip r:embed="rId5"/>
          <a:stretch>
            <a:fillRect/>
          </a:stretch>
        </p:blipFill>
        <p:spPr>
          <a:xfrm>
            <a:off x="6443395" y="4688272"/>
            <a:ext cx="1257395" cy="66684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1621797F-CF4E-4B0B-8F02-57C1E12E04CC}"/>
              </a:ext>
            </a:extLst>
          </p:cNvPr>
          <p:cNvPicPr>
            <a:picLocks noChangeAspect="1"/>
          </p:cNvPicPr>
          <p:nvPr/>
        </p:nvPicPr>
        <p:blipFill>
          <a:blip r:embed="rId6"/>
          <a:stretch>
            <a:fillRect/>
          </a:stretch>
        </p:blipFill>
        <p:spPr>
          <a:xfrm>
            <a:off x="1526072" y="3310226"/>
            <a:ext cx="1309951" cy="7304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8F483E30-44A4-471D-90FC-11195A9F899C}"/>
              </a:ext>
            </a:extLst>
          </p:cNvPr>
          <p:cNvPicPr>
            <a:picLocks noChangeAspect="1"/>
          </p:cNvPicPr>
          <p:nvPr/>
        </p:nvPicPr>
        <p:blipFill>
          <a:blip r:embed="rId7"/>
          <a:stretch>
            <a:fillRect/>
          </a:stretch>
        </p:blipFill>
        <p:spPr>
          <a:xfrm>
            <a:off x="10309166" y="629484"/>
            <a:ext cx="1250972" cy="8869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id="{7D9BF028-F32C-41E8-AF28-10EDBA0F10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84099" y="870649"/>
            <a:ext cx="1187993" cy="7539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8612" name="Picture 4">
            <a:extLst>
              <a:ext uri="{FF2B5EF4-FFF2-40B4-BE49-F238E27FC236}">
                <a16:creationId xmlns:a16="http://schemas.microsoft.com/office/drawing/2014/main" id="{7C5655C8-6F0C-4A1F-BD24-1F5B570918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73530" y="2390658"/>
            <a:ext cx="1174601" cy="7546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Rectangle 16">
            <a:extLst>
              <a:ext uri="{FF2B5EF4-FFF2-40B4-BE49-F238E27FC236}">
                <a16:creationId xmlns:a16="http://schemas.microsoft.com/office/drawing/2014/main" id="{1991F005-68A4-4461-B80E-93E5952115A4}"/>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Tree>
    <p:extLst>
      <p:ext uri="{BB962C8B-B14F-4D97-AF65-F5344CB8AC3E}">
        <p14:creationId xmlns:p14="http://schemas.microsoft.com/office/powerpoint/2010/main" val="54558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78A06-5D7F-48CD-ADC9-0A6414280E94}"/>
              </a:ext>
            </a:extLst>
          </p:cNvPr>
          <p:cNvSpPr>
            <a:spLocks noGrp="1"/>
          </p:cNvSpPr>
          <p:nvPr>
            <p:ph type="title"/>
          </p:nvPr>
        </p:nvSpPr>
        <p:spPr>
          <a:xfrm>
            <a:off x="430373" y="356767"/>
            <a:ext cx="11329827" cy="574516"/>
          </a:xfrm>
        </p:spPr>
        <p:txBody>
          <a:bodyPr/>
          <a:lstStyle/>
          <a:p>
            <a:r>
              <a:rPr lang="en-US"/>
              <a:t>Workforce Data Domain Findings</a:t>
            </a:r>
          </a:p>
        </p:txBody>
      </p:sp>
      <p:sp>
        <p:nvSpPr>
          <p:cNvPr id="14" name="Text Placeholder 9">
            <a:extLst>
              <a:ext uri="{FF2B5EF4-FFF2-40B4-BE49-F238E27FC236}">
                <a16:creationId xmlns:a16="http://schemas.microsoft.com/office/drawing/2014/main" id="{538754E0-F034-4569-B53B-33A872030EC2}"/>
              </a:ext>
            </a:extLst>
          </p:cNvPr>
          <p:cNvSpPr txBox="1">
            <a:spLocks/>
          </p:cNvSpPr>
          <p:nvPr/>
        </p:nvSpPr>
        <p:spPr>
          <a:xfrm>
            <a:off x="466553" y="1205477"/>
            <a:ext cx="11222504" cy="5398980"/>
          </a:xfrm>
        </p:spPr>
        <p:txBody>
          <a:bodyPr anchor="t"/>
          <a:lstStyle>
            <a:defPPr>
              <a:defRPr lang="en-GB"/>
            </a:defPPr>
            <a:lvl1pPr marL="0" indent="0" algn="l" rtl="0" eaLnBrk="1" fontAlgn="auto" hangingPunct="1">
              <a:spcBef>
                <a:spcPts val="0"/>
              </a:spcBef>
              <a:spcAft>
                <a:spcPts val="0"/>
              </a:spcAft>
              <a:buClr>
                <a:schemeClr val="tx1"/>
              </a:buClr>
              <a:buFontTx/>
              <a:buNone/>
              <a:defRPr sz="1800" b="0" dirty="0">
                <a:solidFill>
                  <a:schemeClr val="tx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lvl="1" indent="-167">
              <a:spcAft>
                <a:spcPts val="533"/>
              </a:spcAft>
            </a:pPr>
            <a:endParaRPr lang="en-US" sz="1600">
              <a:solidFill>
                <a:srgbClr val="00148C"/>
              </a:solidFill>
              <a:cs typeface="Arial"/>
            </a:endParaRPr>
          </a:p>
        </p:txBody>
      </p:sp>
      <p:sp>
        <p:nvSpPr>
          <p:cNvPr id="16" name="Rectangle 15">
            <a:extLst>
              <a:ext uri="{FF2B5EF4-FFF2-40B4-BE49-F238E27FC236}">
                <a16:creationId xmlns:a16="http://schemas.microsoft.com/office/drawing/2014/main" id="{642D4DBA-35BE-4E67-BFD8-A85ADA2BDE37}"/>
              </a:ext>
            </a:extLst>
          </p:cNvPr>
          <p:cNvSpPr/>
          <p:nvPr/>
        </p:nvSpPr>
        <p:spPr>
          <a:xfrm>
            <a:off x="430373" y="832929"/>
            <a:ext cx="11222504" cy="843821"/>
          </a:xfrm>
          <a:prstGeom prst="rect">
            <a:avLst/>
          </a:prstGeom>
        </p:spPr>
        <p:txBody>
          <a:bodyPr wrap="square">
            <a:spAutoFit/>
          </a:bodyPr>
          <a:lstStyle/>
          <a:p>
            <a:pPr lvl="1">
              <a:spcAft>
                <a:spcPts val="133"/>
              </a:spcAft>
            </a:pPr>
            <a:r>
              <a:rPr lang="en-US" sz="1600">
                <a:solidFill>
                  <a:srgbClr val="00148C"/>
                </a:solidFill>
                <a:cs typeface="Arial"/>
              </a:rPr>
              <a:t>A deep dive was completed on Workforce Domain in 2020 with the following opportunities identified and a roadmap developed to implement changes in parallel with MyHub 2.0:</a:t>
            </a:r>
          </a:p>
          <a:p>
            <a:pPr lvl="1">
              <a:spcAft>
                <a:spcPts val="133"/>
              </a:spcAft>
            </a:pPr>
            <a:endParaRPr lang="en-US" sz="1600" b="1" u="sng">
              <a:solidFill>
                <a:srgbClr val="00148C"/>
              </a:solidFill>
              <a:cs typeface="Arial"/>
            </a:endParaRPr>
          </a:p>
        </p:txBody>
      </p:sp>
      <p:pic>
        <p:nvPicPr>
          <p:cNvPr id="3" name="Picture 2">
            <a:extLst>
              <a:ext uri="{FF2B5EF4-FFF2-40B4-BE49-F238E27FC236}">
                <a16:creationId xmlns:a16="http://schemas.microsoft.com/office/drawing/2014/main" id="{31FE0D5E-7950-487F-87A6-D227A710554C}"/>
              </a:ext>
            </a:extLst>
          </p:cNvPr>
          <p:cNvPicPr>
            <a:picLocks noChangeAspect="1"/>
          </p:cNvPicPr>
          <p:nvPr/>
        </p:nvPicPr>
        <p:blipFill rotWithShape="1">
          <a:blip r:embed="rId2"/>
          <a:srcRect t="1911"/>
          <a:stretch/>
        </p:blipFill>
        <p:spPr>
          <a:xfrm>
            <a:off x="893145" y="1450003"/>
            <a:ext cx="10404281" cy="4909928"/>
          </a:xfrm>
          <a:prstGeom prst="rect">
            <a:avLst/>
          </a:prstGeom>
        </p:spPr>
      </p:pic>
      <p:sp>
        <p:nvSpPr>
          <p:cNvPr id="7" name="Rectangle 6">
            <a:extLst>
              <a:ext uri="{FF2B5EF4-FFF2-40B4-BE49-F238E27FC236}">
                <a16:creationId xmlns:a16="http://schemas.microsoft.com/office/drawing/2014/main" id="{8F259F4B-794F-4112-8CA0-786640EE25A5}"/>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Tree>
    <p:extLst>
      <p:ext uri="{BB962C8B-B14F-4D97-AF65-F5344CB8AC3E}">
        <p14:creationId xmlns:p14="http://schemas.microsoft.com/office/powerpoint/2010/main" val="1742480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005B2-3512-4AD4-BA08-567DC24E470A}"/>
              </a:ext>
            </a:extLst>
          </p:cNvPr>
          <p:cNvSpPr>
            <a:spLocks noGrp="1"/>
          </p:cNvSpPr>
          <p:nvPr>
            <p:ph type="title"/>
          </p:nvPr>
        </p:nvSpPr>
        <p:spPr/>
        <p:txBody>
          <a:bodyPr/>
          <a:lstStyle/>
          <a:p>
            <a:r>
              <a:rPr lang="en-GB"/>
              <a:t>Future State Architecture</a:t>
            </a:r>
          </a:p>
        </p:txBody>
      </p:sp>
      <p:pic>
        <p:nvPicPr>
          <p:cNvPr id="7" name="Picture 2">
            <a:extLst>
              <a:ext uri="{FF2B5EF4-FFF2-40B4-BE49-F238E27FC236}">
                <a16:creationId xmlns:a16="http://schemas.microsoft.com/office/drawing/2014/main" id="{F780C6EA-05B5-4DCA-90F8-A37CA5BEB1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951"/>
          <a:stretch/>
        </p:blipFill>
        <p:spPr bwMode="auto">
          <a:xfrm>
            <a:off x="1930364" y="951069"/>
            <a:ext cx="8329844" cy="495586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C781E0F-358F-4BBA-8BD2-DDC5D503158F}"/>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Tree>
    <p:extLst>
      <p:ext uri="{BB962C8B-B14F-4D97-AF65-F5344CB8AC3E}">
        <p14:creationId xmlns:p14="http://schemas.microsoft.com/office/powerpoint/2010/main" val="3198995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005B2-3512-4AD4-BA08-567DC24E470A}"/>
              </a:ext>
            </a:extLst>
          </p:cNvPr>
          <p:cNvSpPr>
            <a:spLocks noGrp="1"/>
          </p:cNvSpPr>
          <p:nvPr>
            <p:ph type="title"/>
          </p:nvPr>
        </p:nvSpPr>
        <p:spPr/>
        <p:txBody>
          <a:bodyPr/>
          <a:lstStyle/>
          <a:p>
            <a:r>
              <a:rPr lang="en-GB"/>
              <a:t>Future State Architecture</a:t>
            </a:r>
          </a:p>
        </p:txBody>
      </p:sp>
      <p:sp>
        <p:nvSpPr>
          <p:cNvPr id="8" name="Rectangle 7">
            <a:extLst>
              <a:ext uri="{FF2B5EF4-FFF2-40B4-BE49-F238E27FC236}">
                <a16:creationId xmlns:a16="http://schemas.microsoft.com/office/drawing/2014/main" id="{DC781E0F-358F-4BBA-8BD2-DDC5D503158F}"/>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pic>
        <p:nvPicPr>
          <p:cNvPr id="3" name="Picture 2">
            <a:extLst>
              <a:ext uri="{FF2B5EF4-FFF2-40B4-BE49-F238E27FC236}">
                <a16:creationId xmlns:a16="http://schemas.microsoft.com/office/drawing/2014/main" id="{16B1AD02-68B2-4AAD-B084-422662F194F4}"/>
              </a:ext>
            </a:extLst>
          </p:cNvPr>
          <p:cNvPicPr>
            <a:picLocks noChangeAspect="1"/>
          </p:cNvPicPr>
          <p:nvPr/>
        </p:nvPicPr>
        <p:blipFill>
          <a:blip r:embed="rId3"/>
          <a:stretch>
            <a:fillRect/>
          </a:stretch>
        </p:blipFill>
        <p:spPr>
          <a:xfrm>
            <a:off x="1688673" y="771794"/>
            <a:ext cx="9028946" cy="5561789"/>
          </a:xfrm>
          <a:prstGeom prst="rect">
            <a:avLst/>
          </a:prstGeom>
        </p:spPr>
      </p:pic>
    </p:spTree>
    <p:extLst>
      <p:ext uri="{BB962C8B-B14F-4D97-AF65-F5344CB8AC3E}">
        <p14:creationId xmlns:p14="http://schemas.microsoft.com/office/powerpoint/2010/main" val="1538689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Rectangle 260">
            <a:extLst>
              <a:ext uri="{FF2B5EF4-FFF2-40B4-BE49-F238E27FC236}">
                <a16:creationId xmlns:a16="http://schemas.microsoft.com/office/drawing/2014/main" id="{C97E4443-00D8-445E-88F0-59AF6CF609DB}"/>
              </a:ext>
            </a:extLst>
          </p:cNvPr>
          <p:cNvSpPr/>
          <p:nvPr/>
        </p:nvSpPr>
        <p:spPr>
          <a:xfrm>
            <a:off x="10273738" y="270535"/>
            <a:ext cx="1817593" cy="287130"/>
          </a:xfrm>
          <a:prstGeom prst="rect">
            <a:avLst/>
          </a:prstGeom>
          <a:ln w="6350">
            <a:solidFill>
              <a:schemeClr val="accent1"/>
            </a:solidFill>
          </a:ln>
        </p:spPr>
        <p:txBody>
          <a:bodyPr wrap="square" lIns="121920" tIns="0" rIns="0" bIns="0">
            <a:spAutoFit/>
          </a:bodyPr>
          <a:lstStyle/>
          <a:p>
            <a:pPr defTabSz="1219140">
              <a:buClr>
                <a:srgbClr val="55555A"/>
              </a:buClr>
              <a:defRPr/>
            </a:pPr>
            <a:r>
              <a:rPr lang="en-US" sz="933">
                <a:solidFill>
                  <a:srgbClr val="C800A1">
                    <a:lumMod val="60000"/>
                    <a:lumOff val="40000"/>
                  </a:srgbClr>
                </a:solidFill>
                <a:latin typeface="Arial"/>
                <a:ea typeface="ＭＳ Ｐゴシック"/>
              </a:rPr>
              <a:t>IAM </a:t>
            </a:r>
          </a:p>
          <a:p>
            <a:pPr defTabSz="1219140">
              <a:buClr>
                <a:srgbClr val="55555A"/>
              </a:buClr>
              <a:defRPr/>
            </a:pPr>
            <a:r>
              <a:rPr lang="en-US" sz="933">
                <a:solidFill>
                  <a:srgbClr val="00AFF0"/>
                </a:solidFill>
                <a:latin typeface="Arial"/>
                <a:ea typeface="ＭＳ Ｐゴシック"/>
              </a:rPr>
              <a:t>Workforce Data Domain (WDD)</a:t>
            </a:r>
            <a:endParaRPr lang="en-US" sz="933">
              <a:solidFill>
                <a:srgbClr val="00148C"/>
              </a:solidFill>
              <a:latin typeface="Arial"/>
              <a:ea typeface="ＭＳ Ｐゴシック"/>
            </a:endParaRPr>
          </a:p>
        </p:txBody>
      </p:sp>
      <p:sp>
        <p:nvSpPr>
          <p:cNvPr id="262" name="TextBox 261">
            <a:extLst>
              <a:ext uri="{FF2B5EF4-FFF2-40B4-BE49-F238E27FC236}">
                <a16:creationId xmlns:a16="http://schemas.microsoft.com/office/drawing/2014/main" id="{2CA45006-2609-44FB-A183-311DEE2661C9}"/>
              </a:ext>
            </a:extLst>
          </p:cNvPr>
          <p:cNvSpPr txBox="1"/>
          <p:nvPr/>
        </p:nvSpPr>
        <p:spPr bwMode="auto">
          <a:xfrm>
            <a:off x="10255812" y="120462"/>
            <a:ext cx="1359346"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1219140">
              <a:buClr>
                <a:srgbClr val="55555A"/>
              </a:buClr>
              <a:defRPr/>
            </a:pPr>
            <a:r>
              <a:rPr lang="en-US" sz="933">
                <a:solidFill>
                  <a:srgbClr val="55555A"/>
                </a:solidFill>
                <a:latin typeface="Arial"/>
                <a:ea typeface="ＭＳ Ｐゴシック"/>
              </a:rPr>
              <a:t>Delivery / Value Streams:</a:t>
            </a:r>
          </a:p>
        </p:txBody>
      </p:sp>
      <p:sp>
        <p:nvSpPr>
          <p:cNvPr id="85" name="OTLSHAPE_SL_f6ffadc9780a4f3ab22a7e53bade919d_BackgroundRectangle">
            <a:extLst>
              <a:ext uri="{FF2B5EF4-FFF2-40B4-BE49-F238E27FC236}">
                <a16:creationId xmlns:a16="http://schemas.microsoft.com/office/drawing/2014/main" id="{58B7720C-BF08-4AEE-BE09-226A0766CD33}"/>
              </a:ext>
            </a:extLst>
          </p:cNvPr>
          <p:cNvSpPr/>
          <p:nvPr>
            <p:custDataLst>
              <p:tags r:id="rId1"/>
            </p:custDataLst>
          </p:nvPr>
        </p:nvSpPr>
        <p:spPr>
          <a:xfrm>
            <a:off x="121557" y="5421374"/>
            <a:ext cx="11953095" cy="779209"/>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86" name="OTLSHAPE_SL_f6ffadc9780a4f3ab22a7e53bade919d_BackgroundRectangle">
            <a:extLst>
              <a:ext uri="{FF2B5EF4-FFF2-40B4-BE49-F238E27FC236}">
                <a16:creationId xmlns:a16="http://schemas.microsoft.com/office/drawing/2014/main" id="{23E89D2D-6E3A-4930-94FB-9A41F46C755F}"/>
              </a:ext>
            </a:extLst>
          </p:cNvPr>
          <p:cNvSpPr/>
          <p:nvPr>
            <p:custDataLst>
              <p:tags r:id="rId2"/>
            </p:custDataLst>
          </p:nvPr>
        </p:nvSpPr>
        <p:spPr>
          <a:xfrm>
            <a:off x="98363" y="4637647"/>
            <a:ext cx="11953095" cy="75426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87" name="OTLSHAPE_SLT_e8a0d0690d7843edaca796e8b25719da_Shape">
            <a:extLst>
              <a:ext uri="{FF2B5EF4-FFF2-40B4-BE49-F238E27FC236}">
                <a16:creationId xmlns:a16="http://schemas.microsoft.com/office/drawing/2014/main" id="{66DCC5A3-3370-4055-B4D2-BD637B47D6C2}"/>
              </a:ext>
            </a:extLst>
          </p:cNvPr>
          <p:cNvSpPr/>
          <p:nvPr>
            <p:custDataLst>
              <p:tags r:id="rId3"/>
            </p:custDataLst>
          </p:nvPr>
        </p:nvSpPr>
        <p:spPr>
          <a:xfrm>
            <a:off x="94350" y="4800446"/>
            <a:ext cx="11953093" cy="152823"/>
          </a:xfrm>
          <a:prstGeom prst="homePlate">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buClr>
                <a:srgbClr val="55555A"/>
              </a:buClr>
              <a:defRPr/>
            </a:pPr>
            <a:r>
              <a:rPr lang="en-US" sz="1200">
                <a:solidFill>
                  <a:srgbClr val="FFFFFF"/>
                </a:solidFill>
                <a:latin typeface="Arial"/>
                <a:ea typeface="ＭＳ Ｐゴシック"/>
              </a:rPr>
              <a:t> MDM/DQ/DG</a:t>
            </a:r>
          </a:p>
        </p:txBody>
      </p:sp>
      <p:sp>
        <p:nvSpPr>
          <p:cNvPr id="88" name="OTLSHAPE_SLT_e8a0d0690d7843edaca796e8b25719da_Shape">
            <a:extLst>
              <a:ext uri="{FF2B5EF4-FFF2-40B4-BE49-F238E27FC236}">
                <a16:creationId xmlns:a16="http://schemas.microsoft.com/office/drawing/2014/main" id="{EE28E206-2224-4825-91D0-F72341AC6F38}"/>
              </a:ext>
            </a:extLst>
          </p:cNvPr>
          <p:cNvSpPr/>
          <p:nvPr>
            <p:custDataLst>
              <p:tags r:id="rId4"/>
            </p:custDataLst>
          </p:nvPr>
        </p:nvSpPr>
        <p:spPr>
          <a:xfrm>
            <a:off x="94350" y="5594408"/>
            <a:ext cx="11953093" cy="168259"/>
          </a:xfrm>
          <a:prstGeom prst="homePlate">
            <a:avLst/>
          </a:prstGeom>
          <a:solidFill>
            <a:srgbClr val="00206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buClr>
                <a:srgbClr val="55555A"/>
              </a:buClr>
              <a:defRPr/>
            </a:pPr>
            <a:r>
              <a:rPr lang="en-US" sz="1200">
                <a:solidFill>
                  <a:srgbClr val="FFFFFF"/>
                </a:solidFill>
                <a:latin typeface="Arial"/>
                <a:ea typeface="ＭＳ Ｐゴシック"/>
              </a:rPr>
              <a:t>CDP (Snowflake)</a:t>
            </a:r>
          </a:p>
        </p:txBody>
      </p:sp>
      <p:sp>
        <p:nvSpPr>
          <p:cNvPr id="89" name="OTLSHAPE_SLM_0aec949068fc4edb9016a17022f2fa0f_Title">
            <a:extLst>
              <a:ext uri="{FF2B5EF4-FFF2-40B4-BE49-F238E27FC236}">
                <a16:creationId xmlns:a16="http://schemas.microsoft.com/office/drawing/2014/main" id="{564FC827-9F84-47B9-85BD-64944536BA36}"/>
              </a:ext>
            </a:extLst>
          </p:cNvPr>
          <p:cNvSpPr txBox="1"/>
          <p:nvPr>
            <p:custDataLst>
              <p:tags r:id="rId5"/>
            </p:custDataLst>
          </p:nvPr>
        </p:nvSpPr>
        <p:spPr>
          <a:xfrm>
            <a:off x="1915365" y="4640194"/>
            <a:ext cx="870876" cy="143565"/>
          </a:xfrm>
          <a:prstGeom prst="rect">
            <a:avLst/>
          </a:prstGeom>
          <a:noFill/>
        </p:spPr>
        <p:txBody>
          <a:bodyPr vert="horz" wrap="square" lIns="0" tIns="0" rIns="0" bIns="0" rtlCol="0" anchor="ctr" anchorCtr="0">
            <a:spAutoFit/>
          </a:bodyPr>
          <a:lstStyle/>
          <a:p>
            <a:pPr algn="ctr" defTabSz="1219140">
              <a:buClr>
                <a:srgbClr val="55555A"/>
              </a:buClr>
              <a:defRPr/>
            </a:pPr>
            <a:r>
              <a:rPr lang="en-US" sz="933" spc="-3">
                <a:solidFill>
                  <a:srgbClr val="55555A"/>
                </a:solidFill>
                <a:latin typeface="Calibri" panose="020F0502020204030204" pitchFamily="34" charset="0"/>
                <a:ea typeface="ＭＳ Ｐゴシック"/>
              </a:rPr>
              <a:t>Pre-work</a:t>
            </a:r>
          </a:p>
        </p:txBody>
      </p:sp>
      <p:sp>
        <p:nvSpPr>
          <p:cNvPr id="91" name="OTLSHAPE_SLM_0aec949068fc4edb9016a17022f2fa0f_Shape">
            <a:extLst>
              <a:ext uri="{FF2B5EF4-FFF2-40B4-BE49-F238E27FC236}">
                <a16:creationId xmlns:a16="http://schemas.microsoft.com/office/drawing/2014/main" id="{46022D4B-E9CE-4FC8-868F-65DA66BF89F3}"/>
              </a:ext>
            </a:extLst>
          </p:cNvPr>
          <p:cNvSpPr/>
          <p:nvPr>
            <p:custDataLst>
              <p:tags r:id="rId6"/>
            </p:custDataLst>
          </p:nvPr>
        </p:nvSpPr>
        <p:spPr>
          <a:xfrm>
            <a:off x="2276311" y="479659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93" name="OTLSHAPE_SLM_0aec949068fc4edb9016a17022f2fa0f_Shape">
            <a:extLst>
              <a:ext uri="{FF2B5EF4-FFF2-40B4-BE49-F238E27FC236}">
                <a16:creationId xmlns:a16="http://schemas.microsoft.com/office/drawing/2014/main" id="{0A6B3A5E-9C47-48DD-BE68-2D214E3270D6}"/>
              </a:ext>
            </a:extLst>
          </p:cNvPr>
          <p:cNvSpPr/>
          <p:nvPr>
            <p:custDataLst>
              <p:tags r:id="rId7"/>
            </p:custDataLst>
          </p:nvPr>
        </p:nvSpPr>
        <p:spPr>
          <a:xfrm>
            <a:off x="4996224" y="5586757"/>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94" name="OTLSHAPE_SL_f6ffadc9780a4f3ab22a7e53bade919d_BackgroundRectangle">
            <a:extLst>
              <a:ext uri="{FF2B5EF4-FFF2-40B4-BE49-F238E27FC236}">
                <a16:creationId xmlns:a16="http://schemas.microsoft.com/office/drawing/2014/main" id="{2299157D-A076-46A3-BD41-6DAEFE145D55}"/>
              </a:ext>
            </a:extLst>
          </p:cNvPr>
          <p:cNvSpPr/>
          <p:nvPr>
            <p:custDataLst>
              <p:tags r:id="rId8"/>
            </p:custDataLst>
          </p:nvPr>
        </p:nvSpPr>
        <p:spPr>
          <a:xfrm>
            <a:off x="108039" y="2006429"/>
            <a:ext cx="11913632" cy="258302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cxnSp>
        <p:nvCxnSpPr>
          <p:cNvPr id="95" name="Straight Connector 94">
            <a:extLst>
              <a:ext uri="{FF2B5EF4-FFF2-40B4-BE49-F238E27FC236}">
                <a16:creationId xmlns:a16="http://schemas.microsoft.com/office/drawing/2014/main" id="{412CA404-6760-4856-B524-FC7EB8EFB4B2}"/>
              </a:ext>
            </a:extLst>
          </p:cNvPr>
          <p:cNvCxnSpPr>
            <a:cxnSpLocks/>
            <a:stCxn id="96" idx="2"/>
            <a:endCxn id="170" idx="2"/>
          </p:cNvCxnSpPr>
          <p:nvPr/>
        </p:nvCxnSpPr>
        <p:spPr bwMode="auto">
          <a:xfrm>
            <a:off x="8279632" y="1489572"/>
            <a:ext cx="26877" cy="4270943"/>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6" name="OTLSHAPE_SLM_0aec949068fc4edb9016a17022f2fa0f_Title">
            <a:extLst>
              <a:ext uri="{FF2B5EF4-FFF2-40B4-BE49-F238E27FC236}">
                <a16:creationId xmlns:a16="http://schemas.microsoft.com/office/drawing/2014/main" id="{22D62F15-0863-4255-B34F-50EE6B8E38F0}"/>
              </a:ext>
            </a:extLst>
          </p:cNvPr>
          <p:cNvSpPr txBox="1"/>
          <p:nvPr>
            <p:custDataLst>
              <p:tags r:id="rId9"/>
            </p:custDataLst>
          </p:nvPr>
        </p:nvSpPr>
        <p:spPr>
          <a:xfrm>
            <a:off x="7693706" y="1325360"/>
            <a:ext cx="1171852" cy="164212"/>
          </a:xfrm>
          <a:prstGeom prst="rect">
            <a:avLst/>
          </a:prstGeom>
          <a:noFill/>
        </p:spPr>
        <p:txBody>
          <a:bodyPr vert="horz" wrap="square" lIns="0" tIns="0" rIns="0" bIns="0" rtlCol="0" anchor="ctr" anchorCtr="0">
            <a:spAutoFit/>
          </a:bodyPr>
          <a:lstStyle/>
          <a:p>
            <a:pPr algn="ctr" defTabSz="1219140">
              <a:buClr>
                <a:srgbClr val="55555A"/>
              </a:buClr>
              <a:defRPr/>
            </a:pPr>
            <a:r>
              <a:rPr lang="en-US" sz="1067" spc="-3">
                <a:solidFill>
                  <a:srgbClr val="55555A"/>
                </a:solidFill>
                <a:latin typeface="Arial"/>
                <a:ea typeface="ＭＳ Ｐゴシック"/>
              </a:rPr>
              <a:t>MVP Release 3</a:t>
            </a:r>
          </a:p>
        </p:txBody>
      </p:sp>
      <p:cxnSp>
        <p:nvCxnSpPr>
          <p:cNvPr id="97" name="Straight Connector 96">
            <a:extLst>
              <a:ext uri="{FF2B5EF4-FFF2-40B4-BE49-F238E27FC236}">
                <a16:creationId xmlns:a16="http://schemas.microsoft.com/office/drawing/2014/main" id="{EF02C180-CD4F-4FD3-A882-D51501373911}"/>
              </a:ext>
            </a:extLst>
          </p:cNvPr>
          <p:cNvCxnSpPr>
            <a:cxnSpLocks/>
            <a:stCxn id="100" idx="2"/>
          </p:cNvCxnSpPr>
          <p:nvPr/>
        </p:nvCxnSpPr>
        <p:spPr bwMode="auto">
          <a:xfrm>
            <a:off x="3516117" y="1640581"/>
            <a:ext cx="37393" cy="3825063"/>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0" name="OTLSHAPE_SLM_0aec949068fc4edb9016a17022f2fa0f_Title">
            <a:extLst>
              <a:ext uri="{FF2B5EF4-FFF2-40B4-BE49-F238E27FC236}">
                <a16:creationId xmlns:a16="http://schemas.microsoft.com/office/drawing/2014/main" id="{C1B1957A-29B6-412E-B4A7-62E95C9DF44E}"/>
              </a:ext>
            </a:extLst>
          </p:cNvPr>
          <p:cNvSpPr txBox="1"/>
          <p:nvPr>
            <p:custDataLst>
              <p:tags r:id="rId10"/>
            </p:custDataLst>
          </p:nvPr>
        </p:nvSpPr>
        <p:spPr>
          <a:xfrm>
            <a:off x="3079492" y="1302025"/>
            <a:ext cx="873249" cy="338555"/>
          </a:xfrm>
          <a:prstGeom prst="rect">
            <a:avLst/>
          </a:prstGeom>
          <a:noFill/>
        </p:spPr>
        <p:txBody>
          <a:bodyPr vert="horz" wrap="square" lIns="0" tIns="0" rIns="0" bIns="0" rtlCol="0" anchor="ctr" anchorCtr="0">
            <a:noAutofit/>
          </a:bodyPr>
          <a:lstStyle/>
          <a:p>
            <a:pPr algn="ctr" defTabSz="1219140">
              <a:buClr>
                <a:srgbClr val="55555A"/>
              </a:buClr>
              <a:defRPr/>
            </a:pPr>
            <a:endParaRPr lang="en-US" sz="1067" spc="-3">
              <a:solidFill>
                <a:srgbClr val="55555A"/>
              </a:solidFill>
              <a:latin typeface="Arial"/>
              <a:ea typeface="ＭＳ Ｐゴシック"/>
            </a:endParaRPr>
          </a:p>
          <a:p>
            <a:pPr algn="ctr" defTabSz="1219140">
              <a:buClr>
                <a:srgbClr val="55555A"/>
              </a:buClr>
              <a:defRPr/>
            </a:pPr>
            <a:r>
              <a:rPr lang="en-US" sz="933" spc="-3">
                <a:solidFill>
                  <a:srgbClr val="55555A"/>
                </a:solidFill>
                <a:latin typeface="Arial"/>
                <a:ea typeface="ＭＳ Ｐゴシック"/>
              </a:rPr>
              <a:t>(WDD Phase 1)</a:t>
            </a:r>
          </a:p>
        </p:txBody>
      </p:sp>
      <p:sp>
        <p:nvSpPr>
          <p:cNvPr id="103" name="OTLSHAPE_SLM_0aec949068fc4edb9016a17022f2fa0f_Title">
            <a:extLst>
              <a:ext uri="{FF2B5EF4-FFF2-40B4-BE49-F238E27FC236}">
                <a16:creationId xmlns:a16="http://schemas.microsoft.com/office/drawing/2014/main" id="{62324F70-0F3D-49E7-BDAD-AE0AF4C7464F}"/>
              </a:ext>
            </a:extLst>
          </p:cNvPr>
          <p:cNvSpPr txBox="1"/>
          <p:nvPr>
            <p:custDataLst>
              <p:tags r:id="rId11"/>
            </p:custDataLst>
          </p:nvPr>
        </p:nvSpPr>
        <p:spPr>
          <a:xfrm>
            <a:off x="5989888" y="1269380"/>
            <a:ext cx="963221" cy="386549"/>
          </a:xfrm>
          <a:prstGeom prst="rect">
            <a:avLst/>
          </a:prstGeom>
          <a:noFill/>
        </p:spPr>
        <p:txBody>
          <a:bodyPr vert="horz" wrap="square" lIns="0" tIns="0" rIns="0" bIns="0" rtlCol="0" anchor="ctr" anchorCtr="0">
            <a:noAutofit/>
          </a:bodyPr>
          <a:lstStyle/>
          <a:p>
            <a:pPr algn="ctr" defTabSz="1219140">
              <a:buClr>
                <a:srgbClr val="55555A"/>
              </a:buClr>
              <a:defRPr/>
            </a:pPr>
            <a:r>
              <a:rPr lang="en-US" sz="1067" spc="-3">
                <a:solidFill>
                  <a:srgbClr val="55555A"/>
                </a:solidFill>
                <a:latin typeface="Arial"/>
                <a:ea typeface="ＭＳ Ｐゴシック"/>
              </a:rPr>
              <a:t>MVP Release 2</a:t>
            </a:r>
          </a:p>
          <a:p>
            <a:pPr algn="ctr" defTabSz="1219140">
              <a:buClr>
                <a:srgbClr val="55555A"/>
              </a:buClr>
              <a:defRPr/>
            </a:pPr>
            <a:r>
              <a:rPr lang="en-US" sz="933" spc="-3">
                <a:solidFill>
                  <a:srgbClr val="55555A"/>
                </a:solidFill>
                <a:latin typeface="Arial"/>
                <a:ea typeface="ＭＳ Ｐゴシック"/>
              </a:rPr>
              <a:t>(WDD Phase 3)</a:t>
            </a:r>
          </a:p>
        </p:txBody>
      </p:sp>
      <p:cxnSp>
        <p:nvCxnSpPr>
          <p:cNvPr id="105" name="Straight Connector 104">
            <a:extLst>
              <a:ext uri="{FF2B5EF4-FFF2-40B4-BE49-F238E27FC236}">
                <a16:creationId xmlns:a16="http://schemas.microsoft.com/office/drawing/2014/main" id="{BA1214A6-3BEC-4558-A81D-F66A686FB901}"/>
              </a:ext>
            </a:extLst>
          </p:cNvPr>
          <p:cNvCxnSpPr>
            <a:cxnSpLocks/>
            <a:stCxn id="108" idx="2"/>
          </p:cNvCxnSpPr>
          <p:nvPr/>
        </p:nvCxnSpPr>
        <p:spPr bwMode="auto">
          <a:xfrm>
            <a:off x="4986710" y="1630306"/>
            <a:ext cx="78700" cy="4130209"/>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 name="OTLSHAPE_SLM_0aec949068fc4edb9016a17022f2fa0f_Title">
            <a:extLst>
              <a:ext uri="{FF2B5EF4-FFF2-40B4-BE49-F238E27FC236}">
                <a16:creationId xmlns:a16="http://schemas.microsoft.com/office/drawing/2014/main" id="{D5409082-9816-41A2-B697-E40378C12BB3}"/>
              </a:ext>
            </a:extLst>
          </p:cNvPr>
          <p:cNvSpPr txBox="1"/>
          <p:nvPr>
            <p:custDataLst>
              <p:tags r:id="rId12"/>
            </p:custDataLst>
          </p:nvPr>
        </p:nvSpPr>
        <p:spPr>
          <a:xfrm>
            <a:off x="4493672" y="1285067"/>
            <a:ext cx="986075" cy="345239"/>
          </a:xfrm>
          <a:prstGeom prst="rect">
            <a:avLst/>
          </a:prstGeom>
          <a:noFill/>
        </p:spPr>
        <p:txBody>
          <a:bodyPr vert="horz" wrap="square" lIns="0" tIns="0" rIns="0" bIns="0" rtlCol="0" anchor="ctr" anchorCtr="0">
            <a:noAutofit/>
          </a:bodyPr>
          <a:lstStyle/>
          <a:p>
            <a:pPr algn="ctr" defTabSz="1219140">
              <a:buClr>
                <a:srgbClr val="55555A"/>
              </a:buClr>
              <a:defRPr/>
            </a:pPr>
            <a:r>
              <a:rPr lang="en-US" sz="1067" spc="-3">
                <a:solidFill>
                  <a:srgbClr val="55555A"/>
                </a:solidFill>
                <a:latin typeface="Arial"/>
                <a:ea typeface="ＭＳ Ｐゴシック"/>
              </a:rPr>
              <a:t>MVP Release 1</a:t>
            </a:r>
          </a:p>
          <a:p>
            <a:pPr algn="ctr" defTabSz="1219140">
              <a:buClr>
                <a:srgbClr val="55555A"/>
              </a:buClr>
              <a:defRPr/>
            </a:pPr>
            <a:r>
              <a:rPr lang="en-US" sz="933" spc="-3">
                <a:solidFill>
                  <a:srgbClr val="55555A"/>
                </a:solidFill>
                <a:latin typeface="Arial"/>
                <a:ea typeface="ＭＳ Ｐゴシック"/>
              </a:rPr>
              <a:t>(WDD Phase 2)</a:t>
            </a:r>
          </a:p>
        </p:txBody>
      </p:sp>
      <p:sp>
        <p:nvSpPr>
          <p:cNvPr id="109" name="OTLSHAPE_SLT_e8a0d0690d7843edaca796e8b25719da_Shape">
            <a:extLst>
              <a:ext uri="{FF2B5EF4-FFF2-40B4-BE49-F238E27FC236}">
                <a16:creationId xmlns:a16="http://schemas.microsoft.com/office/drawing/2014/main" id="{2953D0EA-F607-44B6-856D-D89D1279B2AD}"/>
              </a:ext>
            </a:extLst>
          </p:cNvPr>
          <p:cNvSpPr/>
          <p:nvPr>
            <p:custDataLst>
              <p:tags r:id="rId13"/>
            </p:custDataLst>
          </p:nvPr>
        </p:nvSpPr>
        <p:spPr>
          <a:xfrm>
            <a:off x="170330" y="1810131"/>
            <a:ext cx="11904321" cy="165015"/>
          </a:xfrm>
          <a:prstGeom prst="homePlate">
            <a:avLst/>
          </a:prstGeom>
          <a:solidFill>
            <a:schemeClr val="tx2">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buClr>
                <a:srgbClr val="55555A"/>
              </a:buClr>
              <a:defRPr/>
            </a:pPr>
            <a:r>
              <a:rPr lang="en-US" sz="1200">
                <a:solidFill>
                  <a:srgbClr val="FFFFFF"/>
                </a:solidFill>
                <a:latin typeface="Arial"/>
                <a:ea typeface="ＭＳ Ｐゴシック"/>
              </a:rPr>
              <a:t>Data Integration</a:t>
            </a:r>
          </a:p>
        </p:txBody>
      </p:sp>
      <p:pic>
        <p:nvPicPr>
          <p:cNvPr id="112" name="Picture 111">
            <a:extLst>
              <a:ext uri="{FF2B5EF4-FFF2-40B4-BE49-F238E27FC236}">
                <a16:creationId xmlns:a16="http://schemas.microsoft.com/office/drawing/2014/main" id="{4285F70D-BE35-4862-8B85-ECD565716458}"/>
              </a:ext>
            </a:extLst>
          </p:cNvPr>
          <p:cNvPicPr>
            <a:picLocks noChangeAspect="1"/>
          </p:cNvPicPr>
          <p:nvPr/>
        </p:nvPicPr>
        <p:blipFill>
          <a:blip r:embed="rId40"/>
          <a:stretch>
            <a:fillRect/>
          </a:stretch>
        </p:blipFill>
        <p:spPr>
          <a:xfrm>
            <a:off x="4885898" y="2032910"/>
            <a:ext cx="189572" cy="186247"/>
          </a:xfrm>
          <a:prstGeom prst="rect">
            <a:avLst/>
          </a:prstGeom>
        </p:spPr>
      </p:pic>
      <p:sp>
        <p:nvSpPr>
          <p:cNvPr id="113" name="OTLSHAPE_SLM_0aec949068fc4edb9016a17022f2fa0f_Shape">
            <a:extLst>
              <a:ext uri="{FF2B5EF4-FFF2-40B4-BE49-F238E27FC236}">
                <a16:creationId xmlns:a16="http://schemas.microsoft.com/office/drawing/2014/main" id="{491ECB5D-8302-494E-AEB2-7DA0C35521AF}"/>
              </a:ext>
            </a:extLst>
          </p:cNvPr>
          <p:cNvSpPr/>
          <p:nvPr>
            <p:custDataLst>
              <p:tags r:id="rId14"/>
            </p:custDataLst>
          </p:nvPr>
        </p:nvSpPr>
        <p:spPr>
          <a:xfrm>
            <a:off x="4913009" y="193432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pic>
        <p:nvPicPr>
          <p:cNvPr id="114" name="Picture 113">
            <a:extLst>
              <a:ext uri="{FF2B5EF4-FFF2-40B4-BE49-F238E27FC236}">
                <a16:creationId xmlns:a16="http://schemas.microsoft.com/office/drawing/2014/main" id="{5EC633B8-A309-4EC8-937A-E1ED19D56A67}"/>
              </a:ext>
            </a:extLst>
          </p:cNvPr>
          <p:cNvPicPr>
            <a:picLocks noChangeAspect="1"/>
          </p:cNvPicPr>
          <p:nvPr/>
        </p:nvPicPr>
        <p:blipFill>
          <a:blip r:embed="rId40"/>
          <a:stretch>
            <a:fillRect/>
          </a:stretch>
        </p:blipFill>
        <p:spPr>
          <a:xfrm>
            <a:off x="8179279" y="2032910"/>
            <a:ext cx="189572" cy="186247"/>
          </a:xfrm>
          <a:prstGeom prst="rect">
            <a:avLst/>
          </a:prstGeom>
        </p:spPr>
      </p:pic>
      <p:sp>
        <p:nvSpPr>
          <p:cNvPr id="115" name="OTLSHAPE_SLM_0aec949068fc4edb9016a17022f2fa0f_Shape">
            <a:extLst>
              <a:ext uri="{FF2B5EF4-FFF2-40B4-BE49-F238E27FC236}">
                <a16:creationId xmlns:a16="http://schemas.microsoft.com/office/drawing/2014/main" id="{8C261054-4FB8-4296-A678-EBBD47B83F8C}"/>
              </a:ext>
            </a:extLst>
          </p:cNvPr>
          <p:cNvSpPr/>
          <p:nvPr>
            <p:custDataLst>
              <p:tags r:id="rId15"/>
            </p:custDataLst>
          </p:nvPr>
        </p:nvSpPr>
        <p:spPr>
          <a:xfrm>
            <a:off x="8203009" y="193432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16" name="Rectangle 115">
            <a:extLst>
              <a:ext uri="{FF2B5EF4-FFF2-40B4-BE49-F238E27FC236}">
                <a16:creationId xmlns:a16="http://schemas.microsoft.com/office/drawing/2014/main" id="{18437E3F-E6BA-4617-B993-2FAE817ED94C}"/>
              </a:ext>
            </a:extLst>
          </p:cNvPr>
          <p:cNvSpPr/>
          <p:nvPr/>
        </p:nvSpPr>
        <p:spPr>
          <a:xfrm>
            <a:off x="16179" y="1202270"/>
            <a:ext cx="788742" cy="256545"/>
          </a:xfrm>
          <a:prstGeom prst="rect">
            <a:avLst/>
          </a:prstGeom>
        </p:spPr>
        <p:txBody>
          <a:bodyPr wrap="none">
            <a:spAutoFit/>
          </a:bodyPr>
          <a:lstStyle/>
          <a:p>
            <a:pPr defTabSz="1219140">
              <a:buClr>
                <a:srgbClr val="55555A"/>
              </a:buClr>
              <a:defRPr/>
            </a:pPr>
            <a:r>
              <a:rPr lang="en-US" sz="1067" spc="-3">
                <a:solidFill>
                  <a:srgbClr val="55555A"/>
                </a:solidFill>
                <a:latin typeface="Arial"/>
                <a:ea typeface="ＭＳ Ｐゴシック"/>
              </a:rPr>
              <a:t>Releases:</a:t>
            </a:r>
            <a:endParaRPr lang="en-US" sz="1067">
              <a:solidFill>
                <a:srgbClr val="00148C"/>
              </a:solidFill>
              <a:latin typeface="Arial"/>
              <a:ea typeface="ＭＳ Ｐゴシック"/>
            </a:endParaRPr>
          </a:p>
        </p:txBody>
      </p:sp>
      <p:pic>
        <p:nvPicPr>
          <p:cNvPr id="117" name="Picture 116">
            <a:extLst>
              <a:ext uri="{FF2B5EF4-FFF2-40B4-BE49-F238E27FC236}">
                <a16:creationId xmlns:a16="http://schemas.microsoft.com/office/drawing/2014/main" id="{C931BD4D-C8DC-4673-9960-C02E04732356}"/>
              </a:ext>
            </a:extLst>
          </p:cNvPr>
          <p:cNvPicPr>
            <a:picLocks noChangeAspect="1"/>
          </p:cNvPicPr>
          <p:nvPr/>
        </p:nvPicPr>
        <p:blipFill>
          <a:blip r:embed="rId40"/>
          <a:stretch>
            <a:fillRect/>
          </a:stretch>
        </p:blipFill>
        <p:spPr>
          <a:xfrm>
            <a:off x="1159170" y="2020947"/>
            <a:ext cx="189572" cy="186247"/>
          </a:xfrm>
          <a:prstGeom prst="rect">
            <a:avLst/>
          </a:prstGeom>
        </p:spPr>
      </p:pic>
      <p:sp>
        <p:nvSpPr>
          <p:cNvPr id="118" name="OTLSHAPE_SLM_0aec949068fc4edb9016a17022f2fa0f_Shape">
            <a:extLst>
              <a:ext uri="{FF2B5EF4-FFF2-40B4-BE49-F238E27FC236}">
                <a16:creationId xmlns:a16="http://schemas.microsoft.com/office/drawing/2014/main" id="{0875427D-EB51-40AA-8C1B-ECB45D96B172}"/>
              </a:ext>
            </a:extLst>
          </p:cNvPr>
          <p:cNvSpPr/>
          <p:nvPr>
            <p:custDataLst>
              <p:tags r:id="rId16"/>
            </p:custDataLst>
          </p:nvPr>
        </p:nvSpPr>
        <p:spPr>
          <a:xfrm>
            <a:off x="1184169" y="19223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19" name="OTLSHAPE_SLM_0aec949068fc4edb9016a17022f2fa0f_Shape">
            <a:extLst>
              <a:ext uri="{FF2B5EF4-FFF2-40B4-BE49-F238E27FC236}">
                <a16:creationId xmlns:a16="http://schemas.microsoft.com/office/drawing/2014/main" id="{051689E2-F393-4C0C-9FC1-2E1D2E1D6C63}"/>
              </a:ext>
            </a:extLst>
          </p:cNvPr>
          <p:cNvSpPr/>
          <p:nvPr>
            <p:custDataLst>
              <p:tags r:id="rId17"/>
            </p:custDataLst>
          </p:nvPr>
        </p:nvSpPr>
        <p:spPr>
          <a:xfrm>
            <a:off x="4984512" y="4806192"/>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pic>
        <p:nvPicPr>
          <p:cNvPr id="120" name="Picture 119">
            <a:extLst>
              <a:ext uri="{FF2B5EF4-FFF2-40B4-BE49-F238E27FC236}">
                <a16:creationId xmlns:a16="http://schemas.microsoft.com/office/drawing/2014/main" id="{148D4FFA-184E-4726-B439-AD125DC9E550}"/>
              </a:ext>
            </a:extLst>
          </p:cNvPr>
          <p:cNvPicPr>
            <a:picLocks noChangeAspect="1"/>
          </p:cNvPicPr>
          <p:nvPr/>
        </p:nvPicPr>
        <p:blipFill>
          <a:blip r:embed="rId40"/>
          <a:stretch>
            <a:fillRect/>
          </a:stretch>
        </p:blipFill>
        <p:spPr>
          <a:xfrm>
            <a:off x="3421554" y="2049619"/>
            <a:ext cx="189572" cy="186247"/>
          </a:xfrm>
          <a:prstGeom prst="rect">
            <a:avLst/>
          </a:prstGeom>
        </p:spPr>
      </p:pic>
      <p:sp>
        <p:nvSpPr>
          <p:cNvPr id="121" name="OTLSHAPE_SLM_0aec949068fc4edb9016a17022f2fa0f_Shape">
            <a:extLst>
              <a:ext uri="{FF2B5EF4-FFF2-40B4-BE49-F238E27FC236}">
                <a16:creationId xmlns:a16="http://schemas.microsoft.com/office/drawing/2014/main" id="{D3069606-8E64-4DEB-BC9B-B81B417532A8}"/>
              </a:ext>
            </a:extLst>
          </p:cNvPr>
          <p:cNvSpPr/>
          <p:nvPr>
            <p:custDataLst>
              <p:tags r:id="rId18"/>
            </p:custDataLst>
          </p:nvPr>
        </p:nvSpPr>
        <p:spPr>
          <a:xfrm>
            <a:off x="3445285" y="195103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pic>
        <p:nvPicPr>
          <p:cNvPr id="122" name="Picture 121">
            <a:extLst>
              <a:ext uri="{FF2B5EF4-FFF2-40B4-BE49-F238E27FC236}">
                <a16:creationId xmlns:a16="http://schemas.microsoft.com/office/drawing/2014/main" id="{8E17E5B1-FE00-489C-9BB2-D47F15BC4394}"/>
              </a:ext>
            </a:extLst>
          </p:cNvPr>
          <p:cNvPicPr>
            <a:picLocks noChangeAspect="1"/>
          </p:cNvPicPr>
          <p:nvPr/>
        </p:nvPicPr>
        <p:blipFill>
          <a:blip r:embed="rId40"/>
          <a:stretch>
            <a:fillRect/>
          </a:stretch>
        </p:blipFill>
        <p:spPr>
          <a:xfrm>
            <a:off x="2174003" y="2028161"/>
            <a:ext cx="189572" cy="186247"/>
          </a:xfrm>
          <a:prstGeom prst="rect">
            <a:avLst/>
          </a:prstGeom>
        </p:spPr>
      </p:pic>
      <p:sp>
        <p:nvSpPr>
          <p:cNvPr id="123" name="OTLSHAPE_SLM_0aec949068fc4edb9016a17022f2fa0f_Shape">
            <a:extLst>
              <a:ext uri="{FF2B5EF4-FFF2-40B4-BE49-F238E27FC236}">
                <a16:creationId xmlns:a16="http://schemas.microsoft.com/office/drawing/2014/main" id="{B70E7539-752A-4C29-B2E6-EA78A1CC0050}"/>
              </a:ext>
            </a:extLst>
          </p:cNvPr>
          <p:cNvSpPr/>
          <p:nvPr>
            <p:custDataLst>
              <p:tags r:id="rId19"/>
            </p:custDataLst>
          </p:nvPr>
        </p:nvSpPr>
        <p:spPr>
          <a:xfrm>
            <a:off x="2199000" y="192957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24" name="OTLSHAPE_SLM_0aec949068fc4edb9016a17022f2fa0f_Title">
            <a:extLst>
              <a:ext uri="{FF2B5EF4-FFF2-40B4-BE49-F238E27FC236}">
                <a16:creationId xmlns:a16="http://schemas.microsoft.com/office/drawing/2014/main" id="{73A84B22-1080-47FE-9B1D-039C82035D7D}"/>
              </a:ext>
            </a:extLst>
          </p:cNvPr>
          <p:cNvSpPr txBox="1"/>
          <p:nvPr>
            <p:custDataLst>
              <p:tags r:id="rId20"/>
            </p:custDataLst>
          </p:nvPr>
        </p:nvSpPr>
        <p:spPr>
          <a:xfrm>
            <a:off x="5852310" y="4980578"/>
            <a:ext cx="1351164" cy="369332"/>
          </a:xfrm>
          <a:prstGeom prst="rect">
            <a:avLst/>
          </a:prstGeom>
          <a:noFill/>
        </p:spPr>
        <p:txBody>
          <a:bodyPr vert="horz" wrap="square" lIns="0" tIns="0" rIns="0" bIns="0" rtlCol="0" anchor="ctr" anchorCtr="0">
            <a:spAutoFit/>
          </a:bodyPr>
          <a:lstStyle/>
          <a:p>
            <a:pPr algn="ctr" defTabSz="1088211">
              <a:defRPr/>
            </a:pPr>
            <a:r>
              <a:rPr lang="en-US" sz="800" spc="-3">
                <a:solidFill>
                  <a:srgbClr val="000000"/>
                </a:solidFill>
                <a:latin typeface="Arial" panose="020B0604020202020204" pitchFamily="34" charset="0"/>
                <a:cs typeface="Arial" panose="020B0604020202020204" pitchFamily="34" charset="0"/>
              </a:rPr>
              <a:t>Org hierarchy, Cost Center, Location, Union, Legal Entity,</a:t>
            </a:r>
          </a:p>
          <a:p>
            <a:pPr algn="ctr" defTabSz="1088211">
              <a:defRPr/>
            </a:pPr>
            <a:r>
              <a:rPr lang="en-US" sz="800" spc="-3">
                <a:solidFill>
                  <a:srgbClr val="000000"/>
                </a:solidFill>
                <a:latin typeface="Arial" panose="020B0604020202020204" pitchFamily="34" charset="0"/>
                <a:cs typeface="Arial" panose="020B0604020202020204" pitchFamily="34" charset="0"/>
              </a:rPr>
              <a:t>Vendor, Work order</a:t>
            </a:r>
          </a:p>
        </p:txBody>
      </p:sp>
      <p:sp>
        <p:nvSpPr>
          <p:cNvPr id="125" name="OTLSHAPE_SLM_0aec949068fc4edb9016a17022f2fa0f_Title">
            <a:extLst>
              <a:ext uri="{FF2B5EF4-FFF2-40B4-BE49-F238E27FC236}">
                <a16:creationId xmlns:a16="http://schemas.microsoft.com/office/drawing/2014/main" id="{8E5A4A7D-A880-4B79-94C4-57097CA52A34}"/>
              </a:ext>
            </a:extLst>
          </p:cNvPr>
          <p:cNvSpPr txBox="1"/>
          <p:nvPr>
            <p:custDataLst>
              <p:tags r:id="rId21"/>
            </p:custDataLst>
          </p:nvPr>
        </p:nvSpPr>
        <p:spPr>
          <a:xfrm>
            <a:off x="1591787" y="4991266"/>
            <a:ext cx="1527887" cy="246221"/>
          </a:xfrm>
          <a:prstGeom prst="rect">
            <a:avLst/>
          </a:prstGeom>
          <a:noFill/>
        </p:spPr>
        <p:txBody>
          <a:bodyPr vert="horz" wrap="square" lIns="0" tIns="0" rIns="0" bIns="0" rtlCol="0" anchor="ctr" anchorCtr="0">
            <a:spAutoFit/>
          </a:bodyPr>
          <a:lstStyle/>
          <a:p>
            <a:pPr algn="ctr" defTabSz="1088211">
              <a:defRPr/>
            </a:pPr>
            <a:r>
              <a:rPr lang="en-US" sz="800" spc="-3">
                <a:solidFill>
                  <a:srgbClr val="000000"/>
                </a:solidFill>
                <a:latin typeface="Arial" panose="020B0604020202020204" pitchFamily="34" charset="0"/>
                <a:cs typeface="Arial" panose="020B0604020202020204" pitchFamily="34" charset="0"/>
              </a:rPr>
              <a:t>Workforce Data Governance </a:t>
            </a:r>
          </a:p>
          <a:p>
            <a:pPr algn="ctr" defTabSz="1088211">
              <a:defRPr/>
            </a:pPr>
            <a:r>
              <a:rPr lang="en-US" sz="800" spc="-3">
                <a:solidFill>
                  <a:srgbClr val="000000"/>
                </a:solidFill>
                <a:latin typeface="Arial" panose="020B0604020202020204" pitchFamily="34" charset="0"/>
                <a:cs typeface="Arial" panose="020B0604020202020204" pitchFamily="34" charset="0"/>
              </a:rPr>
              <a:t>Business Rules/Requirement</a:t>
            </a:r>
          </a:p>
        </p:txBody>
      </p:sp>
      <p:sp>
        <p:nvSpPr>
          <p:cNvPr id="128" name="OTLSHAPE_SLM_0aec949068fc4edb9016a17022f2fa0f_Title">
            <a:extLst>
              <a:ext uri="{FF2B5EF4-FFF2-40B4-BE49-F238E27FC236}">
                <a16:creationId xmlns:a16="http://schemas.microsoft.com/office/drawing/2014/main" id="{4392698E-D3D0-4511-AAD9-590930A3BA33}"/>
              </a:ext>
            </a:extLst>
          </p:cNvPr>
          <p:cNvSpPr txBox="1"/>
          <p:nvPr>
            <p:custDataLst>
              <p:tags r:id="rId22"/>
            </p:custDataLst>
          </p:nvPr>
        </p:nvSpPr>
        <p:spPr>
          <a:xfrm>
            <a:off x="4351203" y="4969924"/>
            <a:ext cx="1444004" cy="369332"/>
          </a:xfrm>
          <a:prstGeom prst="rect">
            <a:avLst/>
          </a:prstGeom>
          <a:noFill/>
        </p:spPr>
        <p:txBody>
          <a:bodyPr vert="horz" wrap="square" lIns="0" tIns="0" rIns="0" bIns="0" rtlCol="0" anchor="ctr" anchorCtr="0">
            <a:spAutoFit/>
          </a:bodyPr>
          <a:lstStyle/>
          <a:p>
            <a:pPr algn="ctr" defTabSz="1088211">
              <a:defRPr/>
            </a:pPr>
            <a:r>
              <a:rPr lang="en-US" sz="800" spc="-3">
                <a:solidFill>
                  <a:srgbClr val="000000"/>
                </a:solidFill>
                <a:latin typeface="Arial" panose="020B0604020202020204" pitchFamily="34" charset="0"/>
                <a:cs typeface="Arial" panose="020B0604020202020204" pitchFamily="34" charset="0"/>
              </a:rPr>
              <a:t>Unique Worker Persistent ID (leverage Tactical IAM MDM) , Key Worker &amp; </a:t>
            </a:r>
            <a:r>
              <a:rPr lang="en-US" sz="800" spc="-3">
                <a:solidFill>
                  <a:srgbClr val="55555A"/>
                </a:solidFill>
                <a:latin typeface="Arial" panose="020B0604020202020204" pitchFamily="34" charset="0"/>
                <a:ea typeface="ＭＳ Ｐゴシック"/>
                <a:cs typeface="Arial" panose="020B0604020202020204" pitchFamily="34" charset="0"/>
              </a:rPr>
              <a:t>Position </a:t>
            </a:r>
            <a:r>
              <a:rPr lang="en-US" sz="800" spc="-3">
                <a:solidFill>
                  <a:srgbClr val="000000"/>
                </a:solidFill>
                <a:latin typeface="Arial" panose="020B0604020202020204" pitchFamily="34" charset="0"/>
                <a:cs typeface="Arial" panose="020B0604020202020204" pitchFamily="34" charset="0"/>
              </a:rPr>
              <a:t>fields, </a:t>
            </a:r>
            <a:endParaRPr lang="en-US" sz="800" spc="-3">
              <a:solidFill>
                <a:srgbClr val="55555A"/>
              </a:solidFill>
              <a:latin typeface="Arial" panose="020B0604020202020204" pitchFamily="34" charset="0"/>
              <a:ea typeface="ＭＳ Ｐゴシック"/>
              <a:cs typeface="Arial" panose="020B0604020202020204" pitchFamily="34" charset="0"/>
            </a:endParaRPr>
          </a:p>
        </p:txBody>
      </p:sp>
      <p:sp>
        <p:nvSpPr>
          <p:cNvPr id="129" name="OTLSHAPE_SLM_0aec949068fc4edb9016a17022f2fa0f_Title">
            <a:extLst>
              <a:ext uri="{FF2B5EF4-FFF2-40B4-BE49-F238E27FC236}">
                <a16:creationId xmlns:a16="http://schemas.microsoft.com/office/drawing/2014/main" id="{2CDBE013-8DE1-456F-AA83-2DBC8522E6F2}"/>
              </a:ext>
            </a:extLst>
          </p:cNvPr>
          <p:cNvSpPr txBox="1"/>
          <p:nvPr>
            <p:custDataLst>
              <p:tags r:id="rId23"/>
            </p:custDataLst>
          </p:nvPr>
        </p:nvSpPr>
        <p:spPr>
          <a:xfrm>
            <a:off x="4510405" y="5781468"/>
            <a:ext cx="1101983" cy="369332"/>
          </a:xfrm>
          <a:prstGeom prst="rect">
            <a:avLst/>
          </a:prstGeom>
          <a:noFill/>
        </p:spPr>
        <p:txBody>
          <a:bodyPr vert="horz" wrap="square" lIns="0" tIns="0" rIns="0" bIns="0" rtlCol="0" anchor="ctr" anchorCtr="0">
            <a:spAutoFit/>
          </a:bodyPr>
          <a:lstStyle/>
          <a:p>
            <a:pPr algn="ctr" defTabSz="1219140">
              <a:buClr>
                <a:srgbClr val="55555A"/>
              </a:buClr>
              <a:defRPr/>
            </a:pPr>
            <a:r>
              <a:rPr lang="en-US" sz="800" spc="-3">
                <a:solidFill>
                  <a:schemeClr val="tx1">
                    <a:lumMod val="50000"/>
                  </a:schemeClr>
                </a:solidFill>
                <a:latin typeface="Arial" panose="020B0604020202020204" pitchFamily="34" charset="0"/>
                <a:ea typeface="ＭＳ Ｐゴシック"/>
                <a:cs typeface="Arial" panose="020B0604020202020204" pitchFamily="34" charset="0"/>
              </a:rPr>
              <a:t>MDM Worker </a:t>
            </a:r>
            <a:r>
              <a:rPr lang="en-US" sz="800" spc="-3">
                <a:solidFill>
                  <a:schemeClr val="tx1">
                    <a:lumMod val="50000"/>
                  </a:schemeClr>
                </a:solidFill>
                <a:latin typeface="Arial" panose="020B0604020202020204" pitchFamily="34" charset="0"/>
                <a:cs typeface="Arial" panose="020B0604020202020204" pitchFamily="34" charset="0"/>
              </a:rPr>
              <a:t>Persistent ID, Key worker fields, Position </a:t>
            </a:r>
            <a:r>
              <a:rPr lang="en-US" sz="800" spc="-3">
                <a:solidFill>
                  <a:schemeClr val="tx1">
                    <a:lumMod val="50000"/>
                  </a:schemeClr>
                </a:solidFill>
                <a:latin typeface="Arial" panose="020B0604020202020204" pitchFamily="34" charset="0"/>
                <a:ea typeface="ＭＳ Ｐゴシック"/>
                <a:cs typeface="Arial" panose="020B0604020202020204" pitchFamily="34" charset="0"/>
              </a:rPr>
              <a:t>Data Sync</a:t>
            </a:r>
          </a:p>
        </p:txBody>
      </p:sp>
      <p:sp>
        <p:nvSpPr>
          <p:cNvPr id="130" name="OTLSHAPE_SLM_0aec949068fc4edb9016a17022f2fa0f_Title">
            <a:extLst>
              <a:ext uri="{FF2B5EF4-FFF2-40B4-BE49-F238E27FC236}">
                <a16:creationId xmlns:a16="http://schemas.microsoft.com/office/drawing/2014/main" id="{12AF9E59-0931-4484-BD1E-B778914187C3}"/>
              </a:ext>
            </a:extLst>
          </p:cNvPr>
          <p:cNvSpPr txBox="1"/>
          <p:nvPr>
            <p:custDataLst>
              <p:tags r:id="rId24"/>
            </p:custDataLst>
          </p:nvPr>
        </p:nvSpPr>
        <p:spPr>
          <a:xfrm>
            <a:off x="5746861" y="5784951"/>
            <a:ext cx="1588352" cy="369332"/>
          </a:xfrm>
          <a:prstGeom prst="rect">
            <a:avLst/>
          </a:prstGeom>
          <a:noFill/>
        </p:spPr>
        <p:txBody>
          <a:bodyPr vert="horz" wrap="square" lIns="0" tIns="0" rIns="0" bIns="0" rtlCol="0" anchor="ctr" anchorCtr="0">
            <a:spAutoFit/>
          </a:bodyPr>
          <a:lstStyle/>
          <a:p>
            <a:pPr algn="ctr" defTabSz="1088211">
              <a:defRPr/>
            </a:pPr>
            <a:r>
              <a:rPr lang="en-US" sz="800" spc="-3">
                <a:solidFill>
                  <a:srgbClr val="000000"/>
                </a:solidFill>
                <a:latin typeface="Arial" panose="020B0604020202020204" pitchFamily="34" charset="0"/>
                <a:cs typeface="Arial" panose="020B0604020202020204" pitchFamily="34" charset="0"/>
              </a:rPr>
              <a:t>MDM Org hierarchy, Cost Center, Location, Union, Legal Entity,</a:t>
            </a:r>
          </a:p>
          <a:p>
            <a:pPr algn="ctr" defTabSz="1088211">
              <a:defRPr/>
            </a:pPr>
            <a:r>
              <a:rPr lang="en-US" sz="800" spc="-3">
                <a:solidFill>
                  <a:srgbClr val="000000"/>
                </a:solidFill>
                <a:latin typeface="Arial" panose="020B0604020202020204" pitchFamily="34" charset="0"/>
                <a:cs typeface="Arial" panose="020B0604020202020204" pitchFamily="34" charset="0"/>
              </a:rPr>
              <a:t>Vendor, Work order Data Sync</a:t>
            </a:r>
          </a:p>
        </p:txBody>
      </p:sp>
      <p:sp>
        <p:nvSpPr>
          <p:cNvPr id="134" name="OTLSHAPE_SLM_0aec949068fc4edb9016a17022f2fa0f_Title">
            <a:extLst>
              <a:ext uri="{FF2B5EF4-FFF2-40B4-BE49-F238E27FC236}">
                <a16:creationId xmlns:a16="http://schemas.microsoft.com/office/drawing/2014/main" id="{630FF13C-04CF-4292-8284-E0977FB6E5B1}"/>
              </a:ext>
            </a:extLst>
          </p:cNvPr>
          <p:cNvSpPr txBox="1"/>
          <p:nvPr>
            <p:custDataLst>
              <p:tags r:id="rId25"/>
            </p:custDataLst>
          </p:nvPr>
        </p:nvSpPr>
        <p:spPr>
          <a:xfrm>
            <a:off x="7635013" y="5785115"/>
            <a:ext cx="1334688" cy="369332"/>
          </a:xfrm>
          <a:prstGeom prst="rect">
            <a:avLst/>
          </a:prstGeom>
          <a:noFill/>
        </p:spPr>
        <p:txBody>
          <a:bodyPr vert="horz" wrap="square" lIns="0" tIns="0" rIns="0" bIns="0" rtlCol="0" anchor="ctr" anchorCtr="0">
            <a:spAutoFit/>
          </a:bodyPr>
          <a:lstStyle/>
          <a:p>
            <a:pPr algn="ctr" defTabSz="1219140">
              <a:buClr>
                <a:srgbClr val="55555A"/>
              </a:buClr>
              <a:defRPr/>
            </a:pPr>
            <a:r>
              <a:rPr lang="en-US" sz="800" spc="-3">
                <a:solidFill>
                  <a:srgbClr val="55555A"/>
                </a:solidFill>
                <a:latin typeface="Arial" panose="020B0604020202020204" pitchFamily="34" charset="0"/>
                <a:ea typeface="ＭＳ Ｐゴシック"/>
                <a:cs typeface="Arial" panose="020B0604020202020204" pitchFamily="34" charset="0"/>
              </a:rPr>
              <a:t>SF  </a:t>
            </a:r>
            <a:r>
              <a:rPr lang="en-US" sz="800" spc="-3">
                <a:solidFill>
                  <a:srgbClr val="000000"/>
                </a:solidFill>
                <a:latin typeface="Arial" panose="020B0604020202020204" pitchFamily="34" charset="0"/>
                <a:cs typeface="Arial" panose="020B0604020202020204" pitchFamily="34" charset="0"/>
              </a:rPr>
              <a:t>Training, Competencies,</a:t>
            </a:r>
            <a:r>
              <a:rPr lang="en-US" sz="800">
                <a:solidFill>
                  <a:srgbClr val="000000"/>
                </a:solidFill>
                <a:latin typeface="Arial" panose="020B0604020202020204" pitchFamily="34" charset="0"/>
                <a:cs typeface="Arial" panose="020B0604020202020204" pitchFamily="34" charset="0"/>
              </a:rPr>
              <a:t> Performance Measure </a:t>
            </a:r>
            <a:r>
              <a:rPr lang="en-US" sz="800" spc="-3">
                <a:solidFill>
                  <a:srgbClr val="55555A"/>
                </a:solidFill>
                <a:latin typeface="Arial" panose="020B0604020202020204" pitchFamily="34" charset="0"/>
                <a:ea typeface="ＭＳ Ｐゴシック"/>
                <a:cs typeface="Arial" panose="020B0604020202020204" pitchFamily="34" charset="0"/>
              </a:rPr>
              <a:t>Data Sync</a:t>
            </a:r>
          </a:p>
        </p:txBody>
      </p:sp>
      <p:sp>
        <p:nvSpPr>
          <p:cNvPr id="151" name="OTLSHAPE_SLM_0aec949068fc4edb9016a17022f2fa0f_Title">
            <a:extLst>
              <a:ext uri="{FF2B5EF4-FFF2-40B4-BE49-F238E27FC236}">
                <a16:creationId xmlns:a16="http://schemas.microsoft.com/office/drawing/2014/main" id="{462158B7-509E-49DD-97DD-F8998B883356}"/>
              </a:ext>
            </a:extLst>
          </p:cNvPr>
          <p:cNvSpPr txBox="1"/>
          <p:nvPr>
            <p:custDataLst>
              <p:tags r:id="rId26"/>
            </p:custDataLst>
          </p:nvPr>
        </p:nvSpPr>
        <p:spPr>
          <a:xfrm>
            <a:off x="602283" y="2242815"/>
            <a:ext cx="1287327" cy="369332"/>
          </a:xfrm>
          <a:prstGeom prst="rect">
            <a:avLst/>
          </a:prstGeom>
          <a:noFill/>
        </p:spPr>
        <p:txBody>
          <a:bodyPr vert="horz" wrap="square" lIns="0" tIns="0" rIns="0" bIns="0" rtlCol="0" anchor="ctr" anchorCtr="0">
            <a:spAutoFit/>
          </a:bodyPr>
          <a:lstStyle/>
          <a:p>
            <a:pPr algn="ctr" defTabSz="1219140">
              <a:buClr>
                <a:srgbClr val="55555A"/>
              </a:buClr>
              <a:defRPr/>
            </a:pPr>
            <a:r>
              <a:rPr lang="en-US" sz="800">
                <a:solidFill>
                  <a:srgbClr val="C800A1">
                    <a:lumMod val="60000"/>
                    <a:lumOff val="40000"/>
                  </a:srgbClr>
                </a:solidFill>
                <a:latin typeface="Arial" panose="020B0604020202020204" pitchFamily="34" charset="0"/>
                <a:ea typeface="ＭＳ Ｐゴシック"/>
                <a:cs typeface="Arial" panose="020B0604020202020204" pitchFamily="34" charset="0"/>
              </a:rPr>
              <a:t>IAM Tactical MDM Solution with Unique </a:t>
            </a:r>
            <a:r>
              <a:rPr lang="en-US" sz="800">
                <a:solidFill>
                  <a:srgbClr val="C800A1">
                    <a:lumMod val="60000"/>
                    <a:lumOff val="40000"/>
                  </a:srgbClr>
                </a:solidFill>
                <a:latin typeface="Arial" panose="020B0604020202020204" pitchFamily="34" charset="0"/>
                <a:cs typeface="Arial" panose="020B0604020202020204" pitchFamily="34" charset="0"/>
              </a:rPr>
              <a:t>Worker Persistent ID </a:t>
            </a:r>
            <a:endParaRPr lang="en-US" sz="800">
              <a:solidFill>
                <a:srgbClr val="C800A1">
                  <a:lumMod val="60000"/>
                  <a:lumOff val="40000"/>
                </a:srgbClr>
              </a:solidFill>
              <a:latin typeface="Arial" panose="020B0604020202020204" pitchFamily="34" charset="0"/>
              <a:ea typeface="ＭＳ Ｐゴシック"/>
              <a:cs typeface="Arial" panose="020B0604020202020204" pitchFamily="34" charset="0"/>
            </a:endParaRPr>
          </a:p>
        </p:txBody>
      </p:sp>
      <p:sp>
        <p:nvSpPr>
          <p:cNvPr id="152" name="Rectangle 151">
            <a:extLst>
              <a:ext uri="{FF2B5EF4-FFF2-40B4-BE49-F238E27FC236}">
                <a16:creationId xmlns:a16="http://schemas.microsoft.com/office/drawing/2014/main" id="{DCA6D242-BDDC-40D6-91DE-750F5A4CC991}"/>
              </a:ext>
            </a:extLst>
          </p:cNvPr>
          <p:cNvSpPr/>
          <p:nvPr/>
        </p:nvSpPr>
        <p:spPr>
          <a:xfrm>
            <a:off x="2812041" y="2176253"/>
            <a:ext cx="1443060" cy="338554"/>
          </a:xfrm>
          <a:prstGeom prst="rect">
            <a:avLst/>
          </a:prstGeom>
        </p:spPr>
        <p:txBody>
          <a:bodyPr wrap="square">
            <a:spAutoFit/>
          </a:bodyPr>
          <a:lstStyle/>
          <a:p>
            <a:pPr algn="ctr" defTabSz="1219140">
              <a:buClr>
                <a:srgbClr val="55555A"/>
              </a:buClr>
              <a:defRPr/>
            </a:pPr>
            <a:r>
              <a:rPr lang="en-US" sz="800">
                <a:solidFill>
                  <a:srgbClr val="00AFF0"/>
                </a:solidFill>
                <a:latin typeface="Arial"/>
                <a:ea typeface="ＭＳ Ｐゴシック"/>
              </a:rPr>
              <a:t>Impact analysis of ~140 workforce interfaces</a:t>
            </a:r>
          </a:p>
        </p:txBody>
      </p:sp>
      <p:sp>
        <p:nvSpPr>
          <p:cNvPr id="153" name="Rectangle 152">
            <a:extLst>
              <a:ext uri="{FF2B5EF4-FFF2-40B4-BE49-F238E27FC236}">
                <a16:creationId xmlns:a16="http://schemas.microsoft.com/office/drawing/2014/main" id="{80FC4415-DE21-4150-9DDA-E87EB66D3459}"/>
              </a:ext>
            </a:extLst>
          </p:cNvPr>
          <p:cNvSpPr/>
          <p:nvPr/>
        </p:nvSpPr>
        <p:spPr>
          <a:xfrm>
            <a:off x="2888273" y="4092033"/>
            <a:ext cx="1297431" cy="338554"/>
          </a:xfrm>
          <a:prstGeom prst="rect">
            <a:avLst/>
          </a:prstGeom>
        </p:spPr>
        <p:txBody>
          <a:bodyPr wrap="square">
            <a:spAutoFit/>
          </a:bodyPr>
          <a:lstStyle/>
          <a:p>
            <a:pPr algn="ctr" defTabSz="1219140">
              <a:buClr>
                <a:srgbClr val="55555A"/>
              </a:buClr>
              <a:defRPr/>
            </a:pPr>
            <a:r>
              <a:rPr lang="en-US" sz="800">
                <a:solidFill>
                  <a:srgbClr val="00AFF0"/>
                </a:solidFill>
                <a:latin typeface="Arial"/>
                <a:ea typeface="ＭＳ Ｐゴシック"/>
              </a:rPr>
              <a:t>MDM and CDP detail</a:t>
            </a:r>
          </a:p>
          <a:p>
            <a:pPr algn="ctr" defTabSz="1219140">
              <a:buClr>
                <a:srgbClr val="55555A"/>
              </a:buClr>
              <a:defRPr/>
            </a:pPr>
            <a:r>
              <a:rPr lang="en-US" sz="800">
                <a:solidFill>
                  <a:srgbClr val="00AFF0"/>
                </a:solidFill>
                <a:latin typeface="Arial"/>
                <a:ea typeface="ＭＳ Ｐゴシック"/>
              </a:rPr>
              <a:t>Roadmap</a:t>
            </a:r>
          </a:p>
        </p:txBody>
      </p:sp>
      <p:sp>
        <p:nvSpPr>
          <p:cNvPr id="154" name="Rectangle 153">
            <a:extLst>
              <a:ext uri="{FF2B5EF4-FFF2-40B4-BE49-F238E27FC236}">
                <a16:creationId xmlns:a16="http://schemas.microsoft.com/office/drawing/2014/main" id="{5BC10F2F-3AA3-403D-B736-7E2C9DF821AD}"/>
              </a:ext>
            </a:extLst>
          </p:cNvPr>
          <p:cNvSpPr/>
          <p:nvPr/>
        </p:nvSpPr>
        <p:spPr>
          <a:xfrm>
            <a:off x="1691585" y="2197934"/>
            <a:ext cx="1194180" cy="338554"/>
          </a:xfrm>
          <a:prstGeom prst="rect">
            <a:avLst/>
          </a:prstGeom>
        </p:spPr>
        <p:txBody>
          <a:bodyPr wrap="square">
            <a:spAutoFit/>
          </a:bodyPr>
          <a:lstStyle/>
          <a:p>
            <a:pPr algn="ctr" defTabSz="1219140">
              <a:buClr>
                <a:srgbClr val="55555A"/>
              </a:buClr>
              <a:defRPr/>
            </a:pPr>
            <a:r>
              <a:rPr lang="en-US" sz="800">
                <a:solidFill>
                  <a:srgbClr val="00AFF0"/>
                </a:solidFill>
                <a:latin typeface="Arial"/>
                <a:ea typeface="ＭＳ Ｐゴシック"/>
              </a:rPr>
              <a:t>Deep dive Integration issues</a:t>
            </a:r>
          </a:p>
        </p:txBody>
      </p:sp>
      <p:sp>
        <p:nvSpPr>
          <p:cNvPr id="155" name="Rectangle 154">
            <a:extLst>
              <a:ext uri="{FF2B5EF4-FFF2-40B4-BE49-F238E27FC236}">
                <a16:creationId xmlns:a16="http://schemas.microsoft.com/office/drawing/2014/main" id="{B5E8606D-6BBE-4D72-8A89-F887978C8248}"/>
              </a:ext>
            </a:extLst>
          </p:cNvPr>
          <p:cNvSpPr/>
          <p:nvPr/>
        </p:nvSpPr>
        <p:spPr>
          <a:xfrm>
            <a:off x="2816087" y="2545657"/>
            <a:ext cx="1416477" cy="461665"/>
          </a:xfrm>
          <a:prstGeom prst="rect">
            <a:avLst/>
          </a:prstGeom>
        </p:spPr>
        <p:txBody>
          <a:bodyPr wrap="square">
            <a:spAutoFit/>
          </a:bodyPr>
          <a:lstStyle/>
          <a:p>
            <a:pPr algn="ctr" defTabSz="1219140">
              <a:buClr>
                <a:srgbClr val="55555A"/>
              </a:buClr>
              <a:defRPr/>
            </a:pPr>
            <a:r>
              <a:rPr lang="en-US" sz="800">
                <a:solidFill>
                  <a:srgbClr val="00AFF0"/>
                </a:solidFill>
                <a:latin typeface="Arial"/>
                <a:ea typeface="ＭＳ Ｐゴシック"/>
              </a:rPr>
              <a:t>Consolidated systems and interfaces  Architecture View </a:t>
            </a:r>
          </a:p>
        </p:txBody>
      </p:sp>
      <p:cxnSp>
        <p:nvCxnSpPr>
          <p:cNvPr id="158" name="Straight Connector 157">
            <a:extLst>
              <a:ext uri="{FF2B5EF4-FFF2-40B4-BE49-F238E27FC236}">
                <a16:creationId xmlns:a16="http://schemas.microsoft.com/office/drawing/2014/main" id="{BD9540C8-AD87-4075-B827-952001AF80D6}"/>
              </a:ext>
            </a:extLst>
          </p:cNvPr>
          <p:cNvCxnSpPr>
            <a:cxnSpLocks/>
          </p:cNvCxnSpPr>
          <p:nvPr/>
        </p:nvCxnSpPr>
        <p:spPr bwMode="auto">
          <a:xfrm>
            <a:off x="6449129" y="1655930"/>
            <a:ext cx="61676" cy="4116396"/>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0" name="Rectangle 159">
            <a:extLst>
              <a:ext uri="{FF2B5EF4-FFF2-40B4-BE49-F238E27FC236}">
                <a16:creationId xmlns:a16="http://schemas.microsoft.com/office/drawing/2014/main" id="{6B5E7E98-2777-4F9B-B8DD-7A9DBE8C156D}"/>
              </a:ext>
            </a:extLst>
          </p:cNvPr>
          <p:cNvSpPr/>
          <p:nvPr/>
        </p:nvSpPr>
        <p:spPr>
          <a:xfrm>
            <a:off x="2883163" y="3055426"/>
            <a:ext cx="1297432" cy="461665"/>
          </a:xfrm>
          <a:prstGeom prst="rect">
            <a:avLst/>
          </a:prstGeom>
        </p:spPr>
        <p:txBody>
          <a:bodyPr wrap="square">
            <a:spAutoFit/>
          </a:bodyPr>
          <a:lstStyle/>
          <a:p>
            <a:pPr algn="ctr" defTabSz="1219140">
              <a:buClr>
                <a:srgbClr val="55555A"/>
              </a:buClr>
              <a:defRPr/>
            </a:pPr>
            <a:r>
              <a:rPr lang="en-US" sz="800">
                <a:solidFill>
                  <a:srgbClr val="00AFF0"/>
                </a:solidFill>
                <a:latin typeface="Arial"/>
                <a:ea typeface="ＭＳ Ｐゴシック"/>
              </a:rPr>
              <a:t>Enterprise data model and data glossary in ER/Studio</a:t>
            </a:r>
          </a:p>
        </p:txBody>
      </p:sp>
      <p:pic>
        <p:nvPicPr>
          <p:cNvPr id="161" name="Picture 160">
            <a:extLst>
              <a:ext uri="{FF2B5EF4-FFF2-40B4-BE49-F238E27FC236}">
                <a16:creationId xmlns:a16="http://schemas.microsoft.com/office/drawing/2014/main" id="{40AE57C9-0344-4A5C-BA32-15030DD77003}"/>
              </a:ext>
            </a:extLst>
          </p:cNvPr>
          <p:cNvPicPr>
            <a:picLocks noChangeAspect="1"/>
          </p:cNvPicPr>
          <p:nvPr/>
        </p:nvPicPr>
        <p:blipFill>
          <a:blip r:embed="rId40"/>
          <a:stretch>
            <a:fillRect/>
          </a:stretch>
        </p:blipFill>
        <p:spPr>
          <a:xfrm>
            <a:off x="6366741" y="2020926"/>
            <a:ext cx="189572" cy="186247"/>
          </a:xfrm>
          <a:prstGeom prst="rect">
            <a:avLst/>
          </a:prstGeom>
        </p:spPr>
      </p:pic>
      <p:sp>
        <p:nvSpPr>
          <p:cNvPr id="164" name="OTLSHAPE_SLM_0aec949068fc4edb9016a17022f2fa0f_Shape">
            <a:extLst>
              <a:ext uri="{FF2B5EF4-FFF2-40B4-BE49-F238E27FC236}">
                <a16:creationId xmlns:a16="http://schemas.microsoft.com/office/drawing/2014/main" id="{6DEA526F-2898-401F-863A-D1AF5EC8F55C}"/>
              </a:ext>
            </a:extLst>
          </p:cNvPr>
          <p:cNvSpPr/>
          <p:nvPr>
            <p:custDataLst>
              <p:tags r:id="rId27"/>
            </p:custDataLst>
          </p:nvPr>
        </p:nvSpPr>
        <p:spPr>
          <a:xfrm>
            <a:off x="6390471" y="192234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65" name="OTLSHAPE_SLM_0aec949068fc4edb9016a17022f2fa0f_Title">
            <a:extLst>
              <a:ext uri="{FF2B5EF4-FFF2-40B4-BE49-F238E27FC236}">
                <a16:creationId xmlns:a16="http://schemas.microsoft.com/office/drawing/2014/main" id="{EF51F17A-54C5-4AE9-AE69-216B878AA657}"/>
              </a:ext>
            </a:extLst>
          </p:cNvPr>
          <p:cNvSpPr txBox="1"/>
          <p:nvPr>
            <p:custDataLst>
              <p:tags r:id="rId28"/>
            </p:custDataLst>
          </p:nvPr>
        </p:nvSpPr>
        <p:spPr>
          <a:xfrm>
            <a:off x="3149427" y="4994428"/>
            <a:ext cx="812980" cy="246221"/>
          </a:xfrm>
          <a:prstGeom prst="rect">
            <a:avLst/>
          </a:prstGeom>
          <a:noFill/>
        </p:spPr>
        <p:txBody>
          <a:bodyPr vert="horz" wrap="square" lIns="0" tIns="0" rIns="0" bIns="0" rtlCol="0" anchor="ctr" anchorCtr="0">
            <a:spAutoFit/>
          </a:bodyPr>
          <a:lstStyle/>
          <a:p>
            <a:pPr algn="ctr" defTabSz="1219140">
              <a:buClr>
                <a:srgbClr val="55555A"/>
              </a:buClr>
              <a:defRPr/>
            </a:pPr>
            <a:r>
              <a:rPr lang="en-US" sz="800" spc="-3">
                <a:solidFill>
                  <a:srgbClr val="55555A"/>
                </a:solidFill>
                <a:latin typeface="Arial"/>
                <a:ea typeface="ＭＳ Ｐゴシック"/>
                <a:cs typeface="Calibri"/>
              </a:rPr>
              <a:t>Data Catalog, DQ Program</a:t>
            </a:r>
            <a:endParaRPr lang="en-US" sz="800" spc="-3">
              <a:solidFill>
                <a:srgbClr val="55555A"/>
              </a:solidFill>
              <a:latin typeface="Arial"/>
              <a:ea typeface="ＭＳ Ｐゴシック"/>
              <a:cs typeface="Calibri" panose="020F0502020204030204" pitchFamily="34" charset="0"/>
            </a:endParaRPr>
          </a:p>
        </p:txBody>
      </p:sp>
      <p:sp>
        <p:nvSpPr>
          <p:cNvPr id="168" name="OTLSHAPE_SLM_0aec949068fc4edb9016a17022f2fa0f_Shape">
            <a:extLst>
              <a:ext uri="{FF2B5EF4-FFF2-40B4-BE49-F238E27FC236}">
                <a16:creationId xmlns:a16="http://schemas.microsoft.com/office/drawing/2014/main" id="{52C275A8-C855-4943-A866-47019F028601}"/>
              </a:ext>
            </a:extLst>
          </p:cNvPr>
          <p:cNvSpPr/>
          <p:nvPr>
            <p:custDataLst>
              <p:tags r:id="rId29"/>
            </p:custDataLst>
          </p:nvPr>
        </p:nvSpPr>
        <p:spPr>
          <a:xfrm>
            <a:off x="3475196" y="477263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69" name="OTLSHAPE_SLM_0aec949068fc4edb9016a17022f2fa0f_Shape">
            <a:extLst>
              <a:ext uri="{FF2B5EF4-FFF2-40B4-BE49-F238E27FC236}">
                <a16:creationId xmlns:a16="http://schemas.microsoft.com/office/drawing/2014/main" id="{60F02E9D-D05E-4602-8ADE-5426A178ED1F}"/>
              </a:ext>
            </a:extLst>
          </p:cNvPr>
          <p:cNvSpPr/>
          <p:nvPr>
            <p:custDataLst>
              <p:tags r:id="rId30"/>
            </p:custDataLst>
          </p:nvPr>
        </p:nvSpPr>
        <p:spPr>
          <a:xfrm>
            <a:off x="6456975" y="559452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70" name="OTLSHAPE_SLM_0aec949068fc4edb9016a17022f2fa0f_Shape">
            <a:extLst>
              <a:ext uri="{FF2B5EF4-FFF2-40B4-BE49-F238E27FC236}">
                <a16:creationId xmlns:a16="http://schemas.microsoft.com/office/drawing/2014/main" id="{80AD804F-CA8D-4BE8-BE55-95A7AE303465}"/>
              </a:ext>
            </a:extLst>
          </p:cNvPr>
          <p:cNvSpPr/>
          <p:nvPr>
            <p:custDataLst>
              <p:tags r:id="rId31"/>
            </p:custDataLst>
          </p:nvPr>
        </p:nvSpPr>
        <p:spPr>
          <a:xfrm>
            <a:off x="8230309" y="558271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71" name="OTLSHAPE_SLM_0aec949068fc4edb9016a17022f2fa0f_Shape">
            <a:extLst>
              <a:ext uri="{FF2B5EF4-FFF2-40B4-BE49-F238E27FC236}">
                <a16:creationId xmlns:a16="http://schemas.microsoft.com/office/drawing/2014/main" id="{1ECB4C3A-0DCD-466E-85DF-E7E4BFBB7544}"/>
              </a:ext>
            </a:extLst>
          </p:cNvPr>
          <p:cNvSpPr/>
          <p:nvPr>
            <p:custDataLst>
              <p:tags r:id="rId32"/>
            </p:custDataLst>
          </p:nvPr>
        </p:nvSpPr>
        <p:spPr>
          <a:xfrm>
            <a:off x="6431896" y="4797580"/>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buClr>
                <a:srgbClr val="55555A"/>
              </a:buClr>
              <a:defRPr/>
            </a:pPr>
            <a:endParaRPr lang="en-US">
              <a:solidFill>
                <a:srgbClr val="FFFFFF"/>
              </a:solidFill>
              <a:latin typeface="Arial"/>
              <a:ea typeface="ＭＳ Ｐゴシック"/>
            </a:endParaRPr>
          </a:p>
        </p:txBody>
      </p:sp>
      <p:sp>
        <p:nvSpPr>
          <p:cNvPr id="172" name="Rectangle 171">
            <a:extLst>
              <a:ext uri="{FF2B5EF4-FFF2-40B4-BE49-F238E27FC236}">
                <a16:creationId xmlns:a16="http://schemas.microsoft.com/office/drawing/2014/main" id="{660C9837-0337-4839-A736-A0DA26A59A56}"/>
              </a:ext>
            </a:extLst>
          </p:cNvPr>
          <p:cNvSpPr/>
          <p:nvPr/>
        </p:nvSpPr>
        <p:spPr>
          <a:xfrm>
            <a:off x="4231614" y="2639462"/>
            <a:ext cx="1552124" cy="584775"/>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Integration improvements to Downstream systems are driven from Golden Record recommendations</a:t>
            </a:r>
          </a:p>
        </p:txBody>
      </p:sp>
      <p:sp>
        <p:nvSpPr>
          <p:cNvPr id="174" name="Rectangle 173">
            <a:extLst>
              <a:ext uri="{FF2B5EF4-FFF2-40B4-BE49-F238E27FC236}">
                <a16:creationId xmlns:a16="http://schemas.microsoft.com/office/drawing/2014/main" id="{56EF18D1-B090-48AF-A816-131E9640B124}"/>
              </a:ext>
            </a:extLst>
          </p:cNvPr>
          <p:cNvSpPr/>
          <p:nvPr/>
        </p:nvSpPr>
        <p:spPr>
          <a:xfrm>
            <a:off x="4236522" y="3219865"/>
            <a:ext cx="1552125" cy="584775"/>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KPIs and information ready to be consumed in a consistent approach (use of a CDP solution). </a:t>
            </a:r>
          </a:p>
        </p:txBody>
      </p:sp>
      <p:sp>
        <p:nvSpPr>
          <p:cNvPr id="175" name="Rectangle 174">
            <a:extLst>
              <a:ext uri="{FF2B5EF4-FFF2-40B4-BE49-F238E27FC236}">
                <a16:creationId xmlns:a16="http://schemas.microsoft.com/office/drawing/2014/main" id="{0F9A8353-56FF-4398-AA1E-6C70BFAA9642}"/>
              </a:ext>
            </a:extLst>
          </p:cNvPr>
          <p:cNvSpPr/>
          <p:nvPr/>
        </p:nvSpPr>
        <p:spPr>
          <a:xfrm>
            <a:off x="4260563" y="3799973"/>
            <a:ext cx="1552517" cy="338554"/>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Implementation of data integration improvements</a:t>
            </a:r>
          </a:p>
        </p:txBody>
      </p:sp>
      <p:sp>
        <p:nvSpPr>
          <p:cNvPr id="177" name="Rectangle 176">
            <a:extLst>
              <a:ext uri="{FF2B5EF4-FFF2-40B4-BE49-F238E27FC236}">
                <a16:creationId xmlns:a16="http://schemas.microsoft.com/office/drawing/2014/main" id="{0BC23775-FE39-462E-B293-6BEC3BF0DF04}"/>
              </a:ext>
            </a:extLst>
          </p:cNvPr>
          <p:cNvSpPr/>
          <p:nvPr/>
        </p:nvSpPr>
        <p:spPr>
          <a:xfrm>
            <a:off x="4210867" y="4141815"/>
            <a:ext cx="1651044" cy="461665"/>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Alignment  with Data Governance as an enabler for levels of communication</a:t>
            </a:r>
          </a:p>
        </p:txBody>
      </p:sp>
      <p:sp>
        <p:nvSpPr>
          <p:cNvPr id="180" name="Rectangle 179">
            <a:extLst>
              <a:ext uri="{FF2B5EF4-FFF2-40B4-BE49-F238E27FC236}">
                <a16:creationId xmlns:a16="http://schemas.microsoft.com/office/drawing/2014/main" id="{A23F34D0-9BFA-4831-B871-C4A55CDD64C7}"/>
              </a:ext>
            </a:extLst>
          </p:cNvPr>
          <p:cNvSpPr/>
          <p:nvPr/>
        </p:nvSpPr>
        <p:spPr>
          <a:xfrm>
            <a:off x="5710371" y="2602953"/>
            <a:ext cx="1552517" cy="338554"/>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Implementation of data integration improvements</a:t>
            </a:r>
          </a:p>
        </p:txBody>
      </p:sp>
      <p:sp>
        <p:nvSpPr>
          <p:cNvPr id="181" name="Rectangle 180">
            <a:extLst>
              <a:ext uri="{FF2B5EF4-FFF2-40B4-BE49-F238E27FC236}">
                <a16:creationId xmlns:a16="http://schemas.microsoft.com/office/drawing/2014/main" id="{643D94BB-C307-414A-9B88-FCEEE9026B6B}"/>
              </a:ext>
            </a:extLst>
          </p:cNvPr>
          <p:cNvSpPr/>
          <p:nvPr/>
        </p:nvSpPr>
        <p:spPr>
          <a:xfrm>
            <a:off x="5701097" y="2986410"/>
            <a:ext cx="1651044" cy="461665"/>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Alignment  with Data Governance as an enabler for levels of communication</a:t>
            </a:r>
          </a:p>
        </p:txBody>
      </p:sp>
      <p:sp>
        <p:nvSpPr>
          <p:cNvPr id="182" name="Rectangle 181">
            <a:extLst>
              <a:ext uri="{FF2B5EF4-FFF2-40B4-BE49-F238E27FC236}">
                <a16:creationId xmlns:a16="http://schemas.microsoft.com/office/drawing/2014/main" id="{CE07B6FD-43E3-4FA0-8963-A1A55D1B4ED9}"/>
              </a:ext>
            </a:extLst>
          </p:cNvPr>
          <p:cNvSpPr/>
          <p:nvPr/>
        </p:nvSpPr>
        <p:spPr>
          <a:xfrm>
            <a:off x="7512688" y="2183748"/>
            <a:ext cx="1552517" cy="338554"/>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Implementation of data integration improvements</a:t>
            </a:r>
          </a:p>
        </p:txBody>
      </p:sp>
      <p:sp>
        <p:nvSpPr>
          <p:cNvPr id="183" name="Rectangle 182">
            <a:extLst>
              <a:ext uri="{FF2B5EF4-FFF2-40B4-BE49-F238E27FC236}">
                <a16:creationId xmlns:a16="http://schemas.microsoft.com/office/drawing/2014/main" id="{EFAC2A76-68A9-4223-BA6D-EEB3F734F81F}"/>
              </a:ext>
            </a:extLst>
          </p:cNvPr>
          <p:cNvSpPr/>
          <p:nvPr/>
        </p:nvSpPr>
        <p:spPr>
          <a:xfrm>
            <a:off x="7400834" y="2568277"/>
            <a:ext cx="1796031" cy="461665"/>
          </a:xfrm>
          <a:prstGeom prst="rect">
            <a:avLst/>
          </a:prstGeom>
        </p:spPr>
        <p:txBody>
          <a:bodyPr wrap="square">
            <a:spAutoFit/>
          </a:bodyPr>
          <a:lstStyle/>
          <a:p>
            <a:pPr algn="ctr" defTabSz="1219140">
              <a:buClr>
                <a:srgbClr val="55555A"/>
              </a:buClr>
            </a:pPr>
            <a:r>
              <a:rPr lang="en-GB" sz="800">
                <a:solidFill>
                  <a:srgbClr val="00AFF0"/>
                </a:solidFill>
                <a:latin typeface="Arial"/>
                <a:ea typeface="ＭＳ Ｐゴシック"/>
              </a:rPr>
              <a:t>Alignment  with Data Governance as an enabler for levels of communication</a:t>
            </a:r>
          </a:p>
        </p:txBody>
      </p:sp>
      <p:sp>
        <p:nvSpPr>
          <p:cNvPr id="184" name="Rectangle 183">
            <a:extLst>
              <a:ext uri="{FF2B5EF4-FFF2-40B4-BE49-F238E27FC236}">
                <a16:creationId xmlns:a16="http://schemas.microsoft.com/office/drawing/2014/main" id="{62871BFF-17C3-4025-A94E-A11801DCD712}"/>
              </a:ext>
            </a:extLst>
          </p:cNvPr>
          <p:cNvSpPr/>
          <p:nvPr/>
        </p:nvSpPr>
        <p:spPr>
          <a:xfrm>
            <a:off x="2847127" y="3548711"/>
            <a:ext cx="1395992" cy="461665"/>
          </a:xfrm>
          <a:prstGeom prst="rect">
            <a:avLst/>
          </a:prstGeom>
        </p:spPr>
        <p:txBody>
          <a:bodyPr wrap="square">
            <a:spAutoFit/>
          </a:bodyPr>
          <a:lstStyle/>
          <a:p>
            <a:pPr algn="ctr" defTabSz="1219140">
              <a:buClr>
                <a:srgbClr val="55555A"/>
              </a:buClr>
              <a:defRPr/>
            </a:pPr>
            <a:r>
              <a:rPr lang="en-US" sz="800">
                <a:solidFill>
                  <a:srgbClr val="00AFF0"/>
                </a:solidFill>
                <a:latin typeface="Arial"/>
                <a:ea typeface="ＭＳ Ｐゴシック"/>
              </a:rPr>
              <a:t>Data Linage &amp; Data Glossary in Informatica Data Catalog tool</a:t>
            </a:r>
          </a:p>
        </p:txBody>
      </p:sp>
      <p:sp>
        <p:nvSpPr>
          <p:cNvPr id="189" name="OTLSHAPE_SLM_0aec949068fc4edb9016a17022f2fa0f_Title">
            <a:extLst>
              <a:ext uri="{FF2B5EF4-FFF2-40B4-BE49-F238E27FC236}">
                <a16:creationId xmlns:a16="http://schemas.microsoft.com/office/drawing/2014/main" id="{C88D507E-CD29-4CB6-BAB8-24B3D1664B9F}"/>
              </a:ext>
            </a:extLst>
          </p:cNvPr>
          <p:cNvSpPr txBox="1"/>
          <p:nvPr>
            <p:custDataLst>
              <p:tags r:id="rId33"/>
            </p:custDataLst>
          </p:nvPr>
        </p:nvSpPr>
        <p:spPr>
          <a:xfrm>
            <a:off x="5920324" y="2210898"/>
            <a:ext cx="1144309" cy="369332"/>
          </a:xfrm>
          <a:prstGeom prst="rect">
            <a:avLst/>
          </a:prstGeom>
          <a:noFill/>
        </p:spPr>
        <p:txBody>
          <a:bodyPr vert="horz" wrap="square" lIns="0" tIns="0" rIns="0" bIns="0" rtlCol="0" anchor="ctr" anchorCtr="0">
            <a:spAutoFit/>
          </a:bodyPr>
          <a:lstStyle/>
          <a:p>
            <a:pPr algn="ctr" defTabSz="1219140">
              <a:buClr>
                <a:srgbClr val="55555A"/>
              </a:buClr>
              <a:defRPr/>
            </a:pPr>
            <a:r>
              <a:rPr lang="en-US" sz="800">
                <a:solidFill>
                  <a:srgbClr val="C800A1">
                    <a:lumMod val="60000"/>
                    <a:lumOff val="40000"/>
                  </a:srgbClr>
                </a:solidFill>
                <a:latin typeface="Arial" panose="020B0604020202020204" pitchFamily="34" charset="0"/>
                <a:ea typeface="ＭＳ Ｐゴシック"/>
                <a:cs typeface="Arial" panose="020B0604020202020204" pitchFamily="34" charset="0"/>
              </a:rPr>
              <a:t>Transition  and retire  IAM Interim MDM Solution</a:t>
            </a:r>
          </a:p>
        </p:txBody>
      </p:sp>
      <p:sp>
        <p:nvSpPr>
          <p:cNvPr id="102" name="Title 1">
            <a:extLst>
              <a:ext uri="{FF2B5EF4-FFF2-40B4-BE49-F238E27FC236}">
                <a16:creationId xmlns:a16="http://schemas.microsoft.com/office/drawing/2014/main" id="{B9C48391-D516-4B99-9594-2AABB5CA04A0}"/>
              </a:ext>
            </a:extLst>
          </p:cNvPr>
          <p:cNvSpPr>
            <a:spLocks noGrp="1"/>
          </p:cNvSpPr>
          <p:nvPr>
            <p:ph type="title"/>
          </p:nvPr>
        </p:nvSpPr>
        <p:spPr>
          <a:xfrm>
            <a:off x="144137" y="142485"/>
            <a:ext cx="11842703" cy="50259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r>
              <a:rPr lang="en-GB" dirty="0"/>
              <a:t>Workforce Data Domain Proposed Roadmap (Draft)</a:t>
            </a:r>
          </a:p>
        </p:txBody>
      </p:sp>
      <p:sp>
        <p:nvSpPr>
          <p:cNvPr id="188" name="Rectangle 187">
            <a:extLst>
              <a:ext uri="{FF2B5EF4-FFF2-40B4-BE49-F238E27FC236}">
                <a16:creationId xmlns:a16="http://schemas.microsoft.com/office/drawing/2014/main" id="{721EC70C-5342-4A33-BCF1-291E49A50ABD}"/>
              </a:ext>
            </a:extLst>
          </p:cNvPr>
          <p:cNvSpPr/>
          <p:nvPr/>
        </p:nvSpPr>
        <p:spPr>
          <a:xfrm>
            <a:off x="818457" y="1031579"/>
            <a:ext cx="534721" cy="242907"/>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Jun</a:t>
            </a:r>
          </a:p>
        </p:txBody>
      </p:sp>
      <p:sp>
        <p:nvSpPr>
          <p:cNvPr id="190" name="Rectangle 189">
            <a:extLst>
              <a:ext uri="{FF2B5EF4-FFF2-40B4-BE49-F238E27FC236}">
                <a16:creationId xmlns:a16="http://schemas.microsoft.com/office/drawing/2014/main" id="{FB3D620A-8CB3-4820-95E0-4C8002CD2BAB}"/>
              </a:ext>
            </a:extLst>
          </p:cNvPr>
          <p:cNvSpPr/>
          <p:nvPr/>
        </p:nvSpPr>
        <p:spPr>
          <a:xfrm>
            <a:off x="262752" y="1030697"/>
            <a:ext cx="534721" cy="251675"/>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May</a:t>
            </a:r>
          </a:p>
        </p:txBody>
      </p:sp>
      <p:sp>
        <p:nvSpPr>
          <p:cNvPr id="191" name="TextBox 190">
            <a:extLst>
              <a:ext uri="{FF2B5EF4-FFF2-40B4-BE49-F238E27FC236}">
                <a16:creationId xmlns:a16="http://schemas.microsoft.com/office/drawing/2014/main" id="{7FC6D5AD-037E-45E6-99D3-7EABEBB0A762}"/>
              </a:ext>
            </a:extLst>
          </p:cNvPr>
          <p:cNvSpPr txBox="1"/>
          <p:nvPr/>
        </p:nvSpPr>
        <p:spPr bwMode="auto">
          <a:xfrm flipH="1">
            <a:off x="262749" y="737811"/>
            <a:ext cx="4826849" cy="225767"/>
          </a:xfrm>
          <a:prstGeom prst="rect">
            <a:avLst/>
          </a:prstGeom>
          <a:solidFill>
            <a:srgbClr val="C800A1"/>
          </a:solidFill>
          <a:ln>
            <a:noFill/>
          </a:ln>
        </p:spPr>
        <p:txBody>
          <a:bodyPr vert="horz" wrap="square" lIns="0" tIns="0" rIns="0" bIns="0" numCol="1" rtlCol="0" anchor="t" anchorCtr="0" compatLnSpc="1">
            <a:prstTxWarp prst="textNoShape">
              <a:avLst/>
            </a:prstTxWarp>
            <a:spAutoFit/>
          </a:bodyPr>
          <a:lstStyle>
            <a:defPPr>
              <a:defRPr lang="en-GB"/>
            </a:defPPr>
            <a:lvl1pPr algn="ctr" defTabSz="685766" fontAlgn="auto">
              <a:spcBef>
                <a:spcPts val="0"/>
              </a:spcBef>
              <a:buClr>
                <a:srgbClr val="55555A"/>
              </a:buClr>
              <a:defRPr sz="1100">
                <a:solidFill>
                  <a:srgbClr val="FFFFFF"/>
                </a:solidFill>
                <a:latin typeface="Arial"/>
                <a:ea typeface="ＭＳ Ｐゴシック"/>
              </a:defRPr>
            </a:lvl1pPr>
          </a:lstStyle>
          <a:p>
            <a:r>
              <a:rPr lang="en-US" sz="1467"/>
              <a:t>2021</a:t>
            </a:r>
          </a:p>
        </p:txBody>
      </p:sp>
      <p:sp>
        <p:nvSpPr>
          <p:cNvPr id="192" name="Rectangle 191">
            <a:extLst>
              <a:ext uri="{FF2B5EF4-FFF2-40B4-BE49-F238E27FC236}">
                <a16:creationId xmlns:a16="http://schemas.microsoft.com/office/drawing/2014/main" id="{AD76B765-BC7D-4449-ADC6-3EEBC2FD3093}"/>
              </a:ext>
            </a:extLst>
          </p:cNvPr>
          <p:cNvSpPr/>
          <p:nvPr/>
        </p:nvSpPr>
        <p:spPr>
          <a:xfrm>
            <a:off x="1965679" y="1028514"/>
            <a:ext cx="608621" cy="250465"/>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Aug</a:t>
            </a:r>
          </a:p>
        </p:txBody>
      </p:sp>
      <p:sp>
        <p:nvSpPr>
          <p:cNvPr id="193" name="Rectangle 192">
            <a:extLst>
              <a:ext uri="{FF2B5EF4-FFF2-40B4-BE49-F238E27FC236}">
                <a16:creationId xmlns:a16="http://schemas.microsoft.com/office/drawing/2014/main" id="{640C00B8-4E69-40B8-9564-1AD1951C71F6}"/>
              </a:ext>
            </a:extLst>
          </p:cNvPr>
          <p:cNvSpPr/>
          <p:nvPr/>
        </p:nvSpPr>
        <p:spPr>
          <a:xfrm>
            <a:off x="1375687" y="1031202"/>
            <a:ext cx="559160" cy="245173"/>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Jul</a:t>
            </a:r>
          </a:p>
        </p:txBody>
      </p:sp>
      <p:sp>
        <p:nvSpPr>
          <p:cNvPr id="194" name="Rectangle 193">
            <a:extLst>
              <a:ext uri="{FF2B5EF4-FFF2-40B4-BE49-F238E27FC236}">
                <a16:creationId xmlns:a16="http://schemas.microsoft.com/office/drawing/2014/main" id="{8B6B909B-E542-4F5F-A56C-FAF78A99BCA1}"/>
              </a:ext>
            </a:extLst>
          </p:cNvPr>
          <p:cNvSpPr/>
          <p:nvPr/>
        </p:nvSpPr>
        <p:spPr>
          <a:xfrm>
            <a:off x="4476372" y="1027844"/>
            <a:ext cx="608621" cy="243387"/>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Dec</a:t>
            </a:r>
          </a:p>
        </p:txBody>
      </p:sp>
      <p:sp>
        <p:nvSpPr>
          <p:cNvPr id="195" name="Rectangle 194">
            <a:extLst>
              <a:ext uri="{FF2B5EF4-FFF2-40B4-BE49-F238E27FC236}">
                <a16:creationId xmlns:a16="http://schemas.microsoft.com/office/drawing/2014/main" id="{3EB7719E-8674-43A8-8886-38FD1C3569F8}"/>
              </a:ext>
            </a:extLst>
          </p:cNvPr>
          <p:cNvSpPr/>
          <p:nvPr/>
        </p:nvSpPr>
        <p:spPr>
          <a:xfrm>
            <a:off x="3841218" y="1029668"/>
            <a:ext cx="608621" cy="249091"/>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Nov</a:t>
            </a:r>
          </a:p>
        </p:txBody>
      </p:sp>
      <p:sp>
        <p:nvSpPr>
          <p:cNvPr id="196" name="Rectangle 195">
            <a:extLst>
              <a:ext uri="{FF2B5EF4-FFF2-40B4-BE49-F238E27FC236}">
                <a16:creationId xmlns:a16="http://schemas.microsoft.com/office/drawing/2014/main" id="{24E574EF-8163-40B1-8415-B7AF1116807F}"/>
              </a:ext>
            </a:extLst>
          </p:cNvPr>
          <p:cNvSpPr/>
          <p:nvPr/>
        </p:nvSpPr>
        <p:spPr>
          <a:xfrm>
            <a:off x="5123440" y="1028155"/>
            <a:ext cx="534721" cy="242907"/>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Jan</a:t>
            </a:r>
          </a:p>
        </p:txBody>
      </p:sp>
      <p:sp>
        <p:nvSpPr>
          <p:cNvPr id="197" name="TextBox 196">
            <a:extLst>
              <a:ext uri="{FF2B5EF4-FFF2-40B4-BE49-F238E27FC236}">
                <a16:creationId xmlns:a16="http://schemas.microsoft.com/office/drawing/2014/main" id="{1E0EB145-F508-47BC-B133-BCBC583F398D}"/>
              </a:ext>
            </a:extLst>
          </p:cNvPr>
          <p:cNvSpPr txBox="1"/>
          <p:nvPr/>
        </p:nvSpPr>
        <p:spPr bwMode="auto">
          <a:xfrm flipH="1">
            <a:off x="5123439" y="738941"/>
            <a:ext cx="6783488" cy="225767"/>
          </a:xfrm>
          <a:prstGeom prst="rect">
            <a:avLst/>
          </a:prstGeom>
          <a:solidFill>
            <a:srgbClr val="C800A1"/>
          </a:solidFill>
          <a:ln>
            <a:noFill/>
          </a:ln>
        </p:spPr>
        <p:txBody>
          <a:bodyPr vert="horz" wrap="square" lIns="0" tIns="0" rIns="0" bIns="0" numCol="1" rtlCol="0" anchor="t" anchorCtr="0" compatLnSpc="1">
            <a:prstTxWarp prst="textNoShape">
              <a:avLst/>
            </a:prstTxWarp>
            <a:spAutoFit/>
          </a:bodyPr>
          <a:lstStyle>
            <a:defPPr>
              <a:defRPr lang="en-GB"/>
            </a:defPPr>
            <a:lvl1pPr algn="ctr" defTabSz="685766" fontAlgn="auto">
              <a:spcBef>
                <a:spcPts val="0"/>
              </a:spcBef>
              <a:buClr>
                <a:srgbClr val="55555A"/>
              </a:buClr>
              <a:defRPr sz="1100">
                <a:solidFill>
                  <a:srgbClr val="FFFFFF"/>
                </a:solidFill>
                <a:latin typeface="Arial"/>
                <a:ea typeface="ＭＳ Ｐゴシック"/>
              </a:defRPr>
            </a:lvl1pPr>
          </a:lstStyle>
          <a:p>
            <a:r>
              <a:rPr lang="en-US" sz="1467"/>
              <a:t>2022</a:t>
            </a:r>
          </a:p>
        </p:txBody>
      </p:sp>
      <p:sp>
        <p:nvSpPr>
          <p:cNvPr id="198" name="Rectangle 197">
            <a:extLst>
              <a:ext uri="{FF2B5EF4-FFF2-40B4-BE49-F238E27FC236}">
                <a16:creationId xmlns:a16="http://schemas.microsoft.com/office/drawing/2014/main" id="{2F9AD033-3222-4BE0-81B8-8C33382DF5EF}"/>
              </a:ext>
            </a:extLst>
          </p:cNvPr>
          <p:cNvSpPr/>
          <p:nvPr/>
        </p:nvSpPr>
        <p:spPr>
          <a:xfrm>
            <a:off x="5687017" y="1030354"/>
            <a:ext cx="534721" cy="246021"/>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Feb</a:t>
            </a:r>
          </a:p>
        </p:txBody>
      </p:sp>
      <p:sp>
        <p:nvSpPr>
          <p:cNvPr id="199" name="Rectangle 198">
            <a:extLst>
              <a:ext uri="{FF2B5EF4-FFF2-40B4-BE49-F238E27FC236}">
                <a16:creationId xmlns:a16="http://schemas.microsoft.com/office/drawing/2014/main" id="{B0149444-B59B-48C5-8735-29E22194356F}"/>
              </a:ext>
            </a:extLst>
          </p:cNvPr>
          <p:cNvSpPr/>
          <p:nvPr/>
        </p:nvSpPr>
        <p:spPr>
          <a:xfrm>
            <a:off x="6256437" y="1027085"/>
            <a:ext cx="534721" cy="249288"/>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Mar</a:t>
            </a:r>
          </a:p>
        </p:txBody>
      </p:sp>
      <p:sp>
        <p:nvSpPr>
          <p:cNvPr id="200" name="Rectangle 199">
            <a:extLst>
              <a:ext uri="{FF2B5EF4-FFF2-40B4-BE49-F238E27FC236}">
                <a16:creationId xmlns:a16="http://schemas.microsoft.com/office/drawing/2014/main" id="{0931DAF4-D016-4DED-A438-A2C32F38C6C0}"/>
              </a:ext>
            </a:extLst>
          </p:cNvPr>
          <p:cNvSpPr/>
          <p:nvPr/>
        </p:nvSpPr>
        <p:spPr>
          <a:xfrm>
            <a:off x="7340260" y="1027085"/>
            <a:ext cx="486771" cy="251673"/>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May</a:t>
            </a:r>
          </a:p>
        </p:txBody>
      </p:sp>
      <p:sp>
        <p:nvSpPr>
          <p:cNvPr id="201" name="Rectangle 200">
            <a:extLst>
              <a:ext uri="{FF2B5EF4-FFF2-40B4-BE49-F238E27FC236}">
                <a16:creationId xmlns:a16="http://schemas.microsoft.com/office/drawing/2014/main" id="{1BDB6959-B939-4791-8329-9A32CF1A93BC}"/>
              </a:ext>
            </a:extLst>
          </p:cNvPr>
          <p:cNvSpPr/>
          <p:nvPr/>
        </p:nvSpPr>
        <p:spPr>
          <a:xfrm>
            <a:off x="6817058" y="1027085"/>
            <a:ext cx="490484" cy="251672"/>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Apr</a:t>
            </a:r>
          </a:p>
        </p:txBody>
      </p:sp>
      <p:sp>
        <p:nvSpPr>
          <p:cNvPr id="202" name="Rectangle 201">
            <a:extLst>
              <a:ext uri="{FF2B5EF4-FFF2-40B4-BE49-F238E27FC236}">
                <a16:creationId xmlns:a16="http://schemas.microsoft.com/office/drawing/2014/main" id="{EBBCFCEB-8F54-40F4-85A1-D334FE73D4C9}"/>
              </a:ext>
            </a:extLst>
          </p:cNvPr>
          <p:cNvSpPr/>
          <p:nvPr/>
        </p:nvSpPr>
        <p:spPr>
          <a:xfrm>
            <a:off x="3234899" y="1032679"/>
            <a:ext cx="578429" cy="239880"/>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Oct</a:t>
            </a:r>
          </a:p>
        </p:txBody>
      </p:sp>
      <p:sp>
        <p:nvSpPr>
          <p:cNvPr id="203" name="Rectangle 202">
            <a:extLst>
              <a:ext uri="{FF2B5EF4-FFF2-40B4-BE49-F238E27FC236}">
                <a16:creationId xmlns:a16="http://schemas.microsoft.com/office/drawing/2014/main" id="{86B0DEE9-AE44-4D7D-A118-2A0A69ACD663}"/>
              </a:ext>
            </a:extLst>
          </p:cNvPr>
          <p:cNvSpPr/>
          <p:nvPr/>
        </p:nvSpPr>
        <p:spPr>
          <a:xfrm>
            <a:off x="2601259" y="1033965"/>
            <a:ext cx="608621" cy="242409"/>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Sep</a:t>
            </a:r>
          </a:p>
        </p:txBody>
      </p:sp>
      <p:sp>
        <p:nvSpPr>
          <p:cNvPr id="204" name="Rectangle 203">
            <a:extLst>
              <a:ext uri="{FF2B5EF4-FFF2-40B4-BE49-F238E27FC236}">
                <a16:creationId xmlns:a16="http://schemas.microsoft.com/office/drawing/2014/main" id="{2A893023-7845-4D83-B67D-EA67DA1F7565}"/>
              </a:ext>
            </a:extLst>
          </p:cNvPr>
          <p:cNvSpPr/>
          <p:nvPr/>
        </p:nvSpPr>
        <p:spPr>
          <a:xfrm>
            <a:off x="10817097" y="1026096"/>
            <a:ext cx="534721" cy="253827"/>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Nov</a:t>
            </a:r>
          </a:p>
        </p:txBody>
      </p:sp>
      <p:sp>
        <p:nvSpPr>
          <p:cNvPr id="205" name="Rectangle 204">
            <a:extLst>
              <a:ext uri="{FF2B5EF4-FFF2-40B4-BE49-F238E27FC236}">
                <a16:creationId xmlns:a16="http://schemas.microsoft.com/office/drawing/2014/main" id="{51200885-13CD-408C-A33F-DCE08522E70E}"/>
              </a:ext>
            </a:extLst>
          </p:cNvPr>
          <p:cNvSpPr/>
          <p:nvPr/>
        </p:nvSpPr>
        <p:spPr>
          <a:xfrm>
            <a:off x="11372206" y="1026096"/>
            <a:ext cx="534721" cy="253827"/>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Dec</a:t>
            </a:r>
          </a:p>
        </p:txBody>
      </p:sp>
      <p:sp>
        <p:nvSpPr>
          <p:cNvPr id="206" name="Rectangle 205">
            <a:extLst>
              <a:ext uri="{FF2B5EF4-FFF2-40B4-BE49-F238E27FC236}">
                <a16:creationId xmlns:a16="http://schemas.microsoft.com/office/drawing/2014/main" id="{AF0BBABA-21F1-48CA-98FE-20C93CF9CFC2}"/>
              </a:ext>
            </a:extLst>
          </p:cNvPr>
          <p:cNvSpPr/>
          <p:nvPr/>
        </p:nvSpPr>
        <p:spPr>
          <a:xfrm>
            <a:off x="10262010" y="1026869"/>
            <a:ext cx="534721" cy="252633"/>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Oct</a:t>
            </a:r>
          </a:p>
        </p:txBody>
      </p:sp>
      <p:sp>
        <p:nvSpPr>
          <p:cNvPr id="207" name="Rectangle 206">
            <a:extLst>
              <a:ext uri="{FF2B5EF4-FFF2-40B4-BE49-F238E27FC236}">
                <a16:creationId xmlns:a16="http://schemas.microsoft.com/office/drawing/2014/main" id="{87753CB6-4BB5-41E6-98D8-82C8331EEA84}"/>
              </a:ext>
            </a:extLst>
          </p:cNvPr>
          <p:cNvSpPr/>
          <p:nvPr/>
        </p:nvSpPr>
        <p:spPr>
          <a:xfrm>
            <a:off x="7849041" y="1027259"/>
            <a:ext cx="534721" cy="245141"/>
          </a:xfrm>
          <a:prstGeom prst="rect">
            <a:avLst/>
          </a:prstGeom>
          <a:solidFill>
            <a:schemeClr val="accent1"/>
          </a:solidFill>
        </p:spPr>
        <p:txBody>
          <a:bodyPr wrap="square" lIns="48000" rIns="48000" rtlCol="0" anchor="ctr">
            <a:noAutofit/>
          </a:bodyPr>
          <a:lstStyle/>
          <a:p>
            <a:pPr algn="ctr" defTabSz="914332"/>
            <a:r>
              <a:rPr lang="en-US" sz="1200">
                <a:solidFill>
                  <a:srgbClr val="FFFFFF"/>
                </a:solidFill>
                <a:latin typeface="Arial"/>
                <a:ea typeface="ＭＳ Ｐゴシック"/>
              </a:rPr>
              <a:t>Jun</a:t>
            </a:r>
          </a:p>
        </p:txBody>
      </p:sp>
      <p:sp>
        <p:nvSpPr>
          <p:cNvPr id="208" name="Rectangle 207">
            <a:extLst>
              <a:ext uri="{FF2B5EF4-FFF2-40B4-BE49-F238E27FC236}">
                <a16:creationId xmlns:a16="http://schemas.microsoft.com/office/drawing/2014/main" id="{1AD4B63A-D55F-488F-A11D-D29D0C71F13E}"/>
              </a:ext>
            </a:extLst>
          </p:cNvPr>
          <p:cNvSpPr/>
          <p:nvPr/>
        </p:nvSpPr>
        <p:spPr>
          <a:xfrm>
            <a:off x="8996263" y="1032841"/>
            <a:ext cx="608621" cy="246139"/>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Aug</a:t>
            </a:r>
          </a:p>
        </p:txBody>
      </p:sp>
      <p:sp>
        <p:nvSpPr>
          <p:cNvPr id="209" name="Rectangle 208">
            <a:extLst>
              <a:ext uri="{FF2B5EF4-FFF2-40B4-BE49-F238E27FC236}">
                <a16:creationId xmlns:a16="http://schemas.microsoft.com/office/drawing/2014/main" id="{5ED5B048-6116-461D-B9C7-83B164EAC102}"/>
              </a:ext>
            </a:extLst>
          </p:cNvPr>
          <p:cNvSpPr/>
          <p:nvPr/>
        </p:nvSpPr>
        <p:spPr>
          <a:xfrm>
            <a:off x="8406271" y="1026881"/>
            <a:ext cx="559160" cy="250465"/>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Jul</a:t>
            </a:r>
          </a:p>
        </p:txBody>
      </p:sp>
      <p:sp>
        <p:nvSpPr>
          <p:cNvPr id="210" name="Rectangle 209">
            <a:extLst>
              <a:ext uri="{FF2B5EF4-FFF2-40B4-BE49-F238E27FC236}">
                <a16:creationId xmlns:a16="http://schemas.microsoft.com/office/drawing/2014/main" id="{A18A5F3C-7CC8-4A22-B9C3-07546F0BF733}"/>
              </a:ext>
            </a:extLst>
          </p:cNvPr>
          <p:cNvSpPr/>
          <p:nvPr/>
        </p:nvSpPr>
        <p:spPr>
          <a:xfrm>
            <a:off x="9631843" y="1029645"/>
            <a:ext cx="608621" cy="249335"/>
          </a:xfrm>
          <a:prstGeom prst="rect">
            <a:avLst/>
          </a:prstGeom>
          <a:solidFill>
            <a:schemeClr val="accent1"/>
          </a:solidFill>
        </p:spPr>
        <p:txBody>
          <a:bodyPr wrap="square" rtlCol="0" anchor="ctr">
            <a:noAutofit/>
          </a:bodyPr>
          <a:lstStyle/>
          <a:p>
            <a:pPr algn="ctr" defTabSz="914332"/>
            <a:r>
              <a:rPr lang="en-US" sz="1200">
                <a:solidFill>
                  <a:srgbClr val="FFFFFF"/>
                </a:solidFill>
                <a:latin typeface="Arial"/>
                <a:ea typeface="ＭＳ Ｐゴシック"/>
              </a:rPr>
              <a:t>Sep</a:t>
            </a:r>
          </a:p>
        </p:txBody>
      </p:sp>
      <p:sp>
        <p:nvSpPr>
          <p:cNvPr id="211" name="OTLSHAPE_SLT_e8a0d0690d7843edaca796e8b25719da_Shape">
            <a:extLst>
              <a:ext uri="{FF2B5EF4-FFF2-40B4-BE49-F238E27FC236}">
                <a16:creationId xmlns:a16="http://schemas.microsoft.com/office/drawing/2014/main" id="{4E0B6F50-1BEB-4AC3-A4AA-D8C30B82EA00}"/>
              </a:ext>
            </a:extLst>
          </p:cNvPr>
          <p:cNvSpPr/>
          <p:nvPr>
            <p:custDataLst>
              <p:tags r:id="rId34"/>
            </p:custDataLst>
          </p:nvPr>
        </p:nvSpPr>
        <p:spPr>
          <a:xfrm>
            <a:off x="164877" y="1435366"/>
            <a:ext cx="2034123" cy="164204"/>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t>MDM Tool</a:t>
            </a:r>
          </a:p>
        </p:txBody>
      </p:sp>
      <p:sp>
        <p:nvSpPr>
          <p:cNvPr id="213" name="OTLSHAPE_SLM_0aec949068fc4edb9016a17022f2fa0f_Shape">
            <a:extLst>
              <a:ext uri="{FF2B5EF4-FFF2-40B4-BE49-F238E27FC236}">
                <a16:creationId xmlns:a16="http://schemas.microsoft.com/office/drawing/2014/main" id="{4B5CC930-2486-4E58-ADF1-C87A0B22F49B}"/>
              </a:ext>
            </a:extLst>
          </p:cNvPr>
          <p:cNvSpPr/>
          <p:nvPr>
            <p:custDataLst>
              <p:tags r:id="rId35"/>
            </p:custDataLst>
          </p:nvPr>
        </p:nvSpPr>
        <p:spPr>
          <a:xfrm>
            <a:off x="2074006" y="1437256"/>
            <a:ext cx="136207" cy="171973"/>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B050"/>
              </a:solidFill>
              <a:highlight>
                <a:srgbClr val="FF0000"/>
              </a:highlight>
            </a:endParaRPr>
          </a:p>
        </p:txBody>
      </p:sp>
      <p:sp>
        <p:nvSpPr>
          <p:cNvPr id="214" name="OTLSHAPE_SLM_0aec949068fc4edb9016a17022f2fa0f_Title">
            <a:extLst>
              <a:ext uri="{FF2B5EF4-FFF2-40B4-BE49-F238E27FC236}">
                <a16:creationId xmlns:a16="http://schemas.microsoft.com/office/drawing/2014/main" id="{A42C1389-0420-45B0-8E26-71CFB517FBE2}"/>
              </a:ext>
            </a:extLst>
          </p:cNvPr>
          <p:cNvSpPr txBox="1"/>
          <p:nvPr>
            <p:custDataLst>
              <p:tags r:id="rId36"/>
            </p:custDataLst>
          </p:nvPr>
        </p:nvSpPr>
        <p:spPr>
          <a:xfrm>
            <a:off x="2103869" y="1361096"/>
            <a:ext cx="870876" cy="338554"/>
          </a:xfrm>
          <a:prstGeom prst="rect">
            <a:avLst/>
          </a:prstGeom>
          <a:noFill/>
        </p:spPr>
        <p:txBody>
          <a:bodyPr vert="horz" wrap="square" lIns="0" tIns="0" rIns="0" bIns="0" rtlCol="0" anchor="ctr" anchorCtr="0">
            <a:spAutoFit/>
          </a:bodyPr>
          <a:lstStyle/>
          <a:p>
            <a:pPr algn="ctr"/>
            <a:r>
              <a:rPr lang="en-US" sz="1100" spc="-3">
                <a:solidFill>
                  <a:schemeClr val="dk1"/>
                </a:solidFill>
                <a:latin typeface="Calibri" panose="020F0502020204030204" pitchFamily="34" charset="0"/>
              </a:rPr>
              <a:t>MDM  tool</a:t>
            </a:r>
          </a:p>
          <a:p>
            <a:pPr algn="ctr"/>
            <a:r>
              <a:rPr lang="en-US" sz="1100" spc="-3">
                <a:solidFill>
                  <a:schemeClr val="dk1"/>
                </a:solidFill>
                <a:latin typeface="Calibri" panose="020F0502020204030204" pitchFamily="34" charset="0"/>
              </a:rPr>
              <a:t>Ready to use</a:t>
            </a:r>
          </a:p>
        </p:txBody>
      </p:sp>
      <p:sp>
        <p:nvSpPr>
          <p:cNvPr id="98" name="TextBox 97">
            <a:extLst>
              <a:ext uri="{FF2B5EF4-FFF2-40B4-BE49-F238E27FC236}">
                <a16:creationId xmlns:a16="http://schemas.microsoft.com/office/drawing/2014/main" id="{99E9389B-E5B1-4B32-B261-29D796C9A240}"/>
              </a:ext>
            </a:extLst>
          </p:cNvPr>
          <p:cNvSpPr txBox="1"/>
          <p:nvPr/>
        </p:nvSpPr>
        <p:spPr bwMode="auto">
          <a:xfrm>
            <a:off x="5971721" y="6222868"/>
            <a:ext cx="4582316" cy="60785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spcAft>
                <a:spcPts val="267"/>
              </a:spcAft>
            </a:pPr>
            <a:r>
              <a:rPr lang="en-US" sz="800"/>
              <a:t>Note: </a:t>
            </a:r>
          </a:p>
          <a:p>
            <a:pPr marL="228589" indent="-228589">
              <a:spcAft>
                <a:spcPts val="267"/>
              </a:spcAft>
              <a:buFont typeface="Arial" panose="020B0604020202020204" pitchFamily="34" charset="0"/>
              <a:buChar char="•"/>
            </a:pPr>
            <a:r>
              <a:rPr lang="en-US" sz="800"/>
              <a:t>All Timelines are subject to budget approval</a:t>
            </a:r>
          </a:p>
          <a:p>
            <a:pPr marL="228589" indent="-228589">
              <a:spcAft>
                <a:spcPts val="267"/>
              </a:spcAft>
              <a:buFont typeface="Arial" panose="020B0604020202020204" pitchFamily="34" charset="0"/>
              <a:buChar char="•"/>
            </a:pPr>
            <a:r>
              <a:rPr lang="en-US" sz="800"/>
              <a:t>Scope of each release will be finalized as per pre-work findings</a:t>
            </a:r>
          </a:p>
          <a:p>
            <a:pPr marL="228589" indent="-228589">
              <a:spcAft>
                <a:spcPts val="267"/>
              </a:spcAft>
              <a:buFont typeface="Arial" panose="020B0604020202020204" pitchFamily="34" charset="0"/>
              <a:buChar char="•"/>
            </a:pPr>
            <a:r>
              <a:rPr lang="en-US" sz="800"/>
              <a:t>Future Release timeline will be changed based on the current release date change</a:t>
            </a:r>
          </a:p>
        </p:txBody>
      </p:sp>
      <p:sp>
        <p:nvSpPr>
          <p:cNvPr id="99" name="OTLSHAPE_SLM_0aec949068fc4edb9016a17022f2fa0f_Title">
            <a:extLst>
              <a:ext uri="{FF2B5EF4-FFF2-40B4-BE49-F238E27FC236}">
                <a16:creationId xmlns:a16="http://schemas.microsoft.com/office/drawing/2014/main" id="{1C85BA79-D196-4613-B86F-DC6CFF585277}"/>
              </a:ext>
            </a:extLst>
          </p:cNvPr>
          <p:cNvSpPr txBox="1"/>
          <p:nvPr>
            <p:custDataLst>
              <p:tags r:id="rId37"/>
            </p:custDataLst>
          </p:nvPr>
        </p:nvSpPr>
        <p:spPr>
          <a:xfrm>
            <a:off x="4337967" y="2237490"/>
            <a:ext cx="1313733" cy="369332"/>
          </a:xfrm>
          <a:prstGeom prst="rect">
            <a:avLst/>
          </a:prstGeom>
          <a:noFill/>
        </p:spPr>
        <p:txBody>
          <a:bodyPr vert="horz" wrap="square" lIns="0" tIns="0" rIns="0" bIns="0" rtlCol="0" anchor="ctr" anchorCtr="0">
            <a:spAutoFit/>
          </a:bodyPr>
          <a:lstStyle/>
          <a:p>
            <a:pPr algn="ctr" defTabSz="1219140">
              <a:buClr>
                <a:srgbClr val="55555A"/>
              </a:buClr>
              <a:defRPr/>
            </a:pPr>
            <a:r>
              <a:rPr lang="en-US" sz="800">
                <a:solidFill>
                  <a:srgbClr val="C800A1">
                    <a:lumMod val="60000"/>
                    <a:lumOff val="40000"/>
                  </a:srgbClr>
                </a:solidFill>
                <a:latin typeface="Arial" panose="020B0604020202020204" pitchFamily="34" charset="0"/>
                <a:ea typeface="ＭＳ Ｐゴシック"/>
                <a:cs typeface="Arial" panose="020B0604020202020204" pitchFamily="34" charset="0"/>
              </a:rPr>
              <a:t>Retire/replace  IAM Interim MDM Unique Worker Persistent ID Generation</a:t>
            </a:r>
          </a:p>
        </p:txBody>
      </p:sp>
      <p:sp>
        <p:nvSpPr>
          <p:cNvPr id="90" name="Rectangle 89">
            <a:extLst>
              <a:ext uri="{FF2B5EF4-FFF2-40B4-BE49-F238E27FC236}">
                <a16:creationId xmlns:a16="http://schemas.microsoft.com/office/drawing/2014/main" id="{5D67E009-CBC8-433E-ABAA-629B2F768028}"/>
              </a:ext>
            </a:extLst>
          </p:cNvPr>
          <p:cNvSpPr/>
          <p:nvPr/>
        </p:nvSpPr>
        <p:spPr>
          <a:xfrm>
            <a:off x="-713" y="7954"/>
            <a:ext cx="2183932" cy="276999"/>
          </a:xfrm>
          <a:prstGeom prst="rect">
            <a:avLst/>
          </a:prstGeom>
        </p:spPr>
        <p:txBody>
          <a:bodyPr wrap="square">
            <a:spAutoFit/>
          </a:bodyPr>
          <a:lstStyle/>
          <a:p>
            <a:r>
              <a:rPr lang="en-US" sz="1200" kern="0" dirty="0">
                <a:solidFill>
                  <a:srgbClr val="FF0000"/>
                </a:solidFill>
                <a:latin typeface="Arial"/>
                <a:ea typeface="ＭＳ Ｐゴシック"/>
                <a:cs typeface="Arial"/>
              </a:rPr>
              <a:t>Internal Use Only</a:t>
            </a:r>
            <a:endParaRPr lang="en-GB" sz="1200" dirty="0">
              <a:solidFill>
                <a:srgbClr val="FF0000"/>
              </a:solidFill>
            </a:endParaRPr>
          </a:p>
        </p:txBody>
      </p:sp>
    </p:spTree>
    <p:extLst>
      <p:ext uri="{BB962C8B-B14F-4D97-AF65-F5344CB8AC3E}">
        <p14:creationId xmlns:p14="http://schemas.microsoft.com/office/powerpoint/2010/main" val="15177175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Rounded Corners 24">
            <a:extLst>
              <a:ext uri="{FF2B5EF4-FFF2-40B4-BE49-F238E27FC236}">
                <a16:creationId xmlns:a16="http://schemas.microsoft.com/office/drawing/2014/main" id="{070AD3DD-7B48-42AF-870D-1B0C02498793}"/>
              </a:ext>
            </a:extLst>
          </p:cNvPr>
          <p:cNvSpPr/>
          <p:nvPr/>
        </p:nvSpPr>
        <p:spPr>
          <a:xfrm>
            <a:off x="5571483" y="1549937"/>
            <a:ext cx="3275432" cy="895275"/>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20000"/>
              <a:lumOff val="80000"/>
            </a:schemeClr>
          </a:solidFill>
          <a:ln cap="flat">
            <a:noFill/>
            <a:prstDash val="solid"/>
          </a:ln>
        </p:spPr>
        <p:txBody>
          <a:bodyPr vert="horz" wrap="square" lIns="91430" tIns="45720" rIns="91430" bIns="45720" anchor="ctr" anchorCtr="1" compatLnSpc="1">
            <a:noAutofit/>
          </a:bodyPr>
          <a:lstStyle/>
          <a:p>
            <a:pPr lvl="0">
              <a:defRPr sz="1800" b="0" i="0" u="none" strike="noStrike" kern="0" cap="none" spc="0" baseline="0">
                <a:solidFill>
                  <a:srgbClr val="000000"/>
                </a:solidFill>
                <a:uFillTx/>
              </a:defRPr>
            </a:pPr>
            <a:r>
              <a:rPr lang="en-GB" sz="1200" i="1" kern="0">
                <a:solidFill>
                  <a:srgbClr val="002060"/>
                </a:solidFill>
                <a:latin typeface="Calibri"/>
              </a:rPr>
              <a:t>A person linked to a POSITION in an ORGANIZATION (employee, contingent) or having a IT network identity (MSP)</a:t>
            </a:r>
          </a:p>
        </p:txBody>
      </p:sp>
      <p:sp>
        <p:nvSpPr>
          <p:cNvPr id="53" name="Rectangle: Rounded Corners 24">
            <a:extLst>
              <a:ext uri="{FF2B5EF4-FFF2-40B4-BE49-F238E27FC236}">
                <a16:creationId xmlns:a16="http://schemas.microsoft.com/office/drawing/2014/main" id="{714D254C-682A-47DA-AA08-939DB1543401}"/>
              </a:ext>
            </a:extLst>
          </p:cNvPr>
          <p:cNvSpPr/>
          <p:nvPr/>
        </p:nvSpPr>
        <p:spPr>
          <a:xfrm>
            <a:off x="121456" y="4007224"/>
            <a:ext cx="3275432" cy="1958119"/>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20000"/>
              <a:lumOff val="80000"/>
            </a:schemeClr>
          </a:solidFill>
          <a:ln cap="flat">
            <a:noFill/>
            <a:prstDash val="solid"/>
          </a:ln>
        </p:spPr>
        <p:txBody>
          <a:bodyPr vert="horz" wrap="square" lIns="91430" tIns="45720" rIns="91430" bIns="45720" anchor="ctr" anchorCtr="1" compatLnSpc="1">
            <a:noAutofit/>
          </a:bodyPr>
          <a:lstStyle/>
          <a:p>
            <a:pPr lvl="0">
              <a:defRPr sz="1800" b="0" i="0" u="none" strike="noStrike" kern="0" cap="none" spc="0" baseline="0">
                <a:solidFill>
                  <a:srgbClr val="000000"/>
                </a:solidFill>
                <a:uFillTx/>
              </a:defRPr>
            </a:pPr>
            <a:endParaRPr lang="en-GB" sz="1200" i="1">
              <a:solidFill>
                <a:srgbClr val="002060"/>
              </a:solidFill>
              <a:latin typeface="Calibri"/>
            </a:endParaRPr>
          </a:p>
          <a:p>
            <a:pPr lvl="0">
              <a:defRPr sz="1800" b="0" i="0" u="none" strike="noStrike" kern="0" cap="none" spc="0" baseline="0">
                <a:solidFill>
                  <a:srgbClr val="000000"/>
                </a:solidFill>
                <a:uFillTx/>
              </a:defRPr>
            </a:pPr>
            <a:r>
              <a:rPr lang="en-GB" sz="1200" i="1">
                <a:solidFill>
                  <a:srgbClr val="002060"/>
                </a:solidFill>
                <a:latin typeface="Calibri"/>
              </a:rPr>
              <a:t>Contingent work, casual work, or contract work, is an employment relationship with limited job security, payment on a piece work basis, typically part-time that is considered non-permanent. Contingent workers are provided to NG by MSPs that act as agents. NG pays the agent and the agent pays the worker.</a:t>
            </a:r>
          </a:p>
        </p:txBody>
      </p:sp>
      <p:sp>
        <p:nvSpPr>
          <p:cNvPr id="52" name="Rectangle: Rounded Corners 24">
            <a:extLst>
              <a:ext uri="{FF2B5EF4-FFF2-40B4-BE49-F238E27FC236}">
                <a16:creationId xmlns:a16="http://schemas.microsoft.com/office/drawing/2014/main" id="{8C7EE3A5-0B2E-4E9F-BB74-B1E48D77060A}"/>
              </a:ext>
            </a:extLst>
          </p:cNvPr>
          <p:cNvSpPr/>
          <p:nvPr/>
        </p:nvSpPr>
        <p:spPr>
          <a:xfrm>
            <a:off x="3998261" y="4007225"/>
            <a:ext cx="3275432" cy="1958160"/>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20000"/>
              <a:lumOff val="80000"/>
            </a:schemeClr>
          </a:solidFill>
          <a:ln cap="flat">
            <a:noFill/>
            <a:prstDash val="solid"/>
          </a:ln>
        </p:spPr>
        <p:txBody>
          <a:bodyPr vert="horz" wrap="square" lIns="91430" tIns="45720" rIns="91430" bIns="45720" anchor="ctr" anchorCtr="1" compatLnSpc="1">
            <a:noAutofit/>
          </a:bodyPr>
          <a:lstStyle/>
          <a:p>
            <a:pPr lvl="0">
              <a:defRPr sz="1800" b="0" i="0" u="none" strike="noStrike" kern="0" cap="none" spc="0" baseline="0">
                <a:solidFill>
                  <a:srgbClr val="000000"/>
                </a:solidFill>
                <a:uFillTx/>
              </a:defRPr>
            </a:pPr>
            <a:r>
              <a:rPr lang="en-GB" sz="1200" i="1">
                <a:solidFill>
                  <a:srgbClr val="002060"/>
                </a:solidFill>
                <a:latin typeface="Calibri"/>
              </a:rPr>
              <a:t>Employees have a contract of employment and get paid directly by NG. Permanent employees do not have a predetermined end date to employment. In addition to their salaries, they often receive benefits like subsidized health care, paid vacations, holidays, sick time etc.</a:t>
            </a:r>
          </a:p>
        </p:txBody>
      </p:sp>
      <p:sp>
        <p:nvSpPr>
          <p:cNvPr id="41" name="Rectangle: Rounded Corners 24">
            <a:extLst>
              <a:ext uri="{FF2B5EF4-FFF2-40B4-BE49-F238E27FC236}">
                <a16:creationId xmlns:a16="http://schemas.microsoft.com/office/drawing/2014/main" id="{64800DF0-1598-43DF-A243-FBBFA05CC71D}"/>
              </a:ext>
            </a:extLst>
          </p:cNvPr>
          <p:cNvSpPr/>
          <p:nvPr/>
        </p:nvSpPr>
        <p:spPr>
          <a:xfrm>
            <a:off x="7748914" y="3990062"/>
            <a:ext cx="4084591" cy="1975281"/>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20000"/>
              <a:lumOff val="80000"/>
            </a:schemeClr>
          </a:solidFill>
          <a:ln cap="flat">
            <a:noFill/>
            <a:prstDash val="solid"/>
          </a:ln>
        </p:spPr>
        <p:txBody>
          <a:bodyPr vert="horz" wrap="square" lIns="91430" tIns="45720" rIns="91430" bIns="45720" anchor="ctr" anchorCtr="1" compatLnSpc="1">
            <a:noAutofit/>
          </a:bodyPr>
          <a:lstStyle/>
          <a:p>
            <a:pPr lvl="0">
              <a:defRPr sz="1800" b="0" i="0" u="none" strike="noStrike" kern="0" cap="none" spc="0" baseline="0">
                <a:solidFill>
                  <a:srgbClr val="000000"/>
                </a:solidFill>
                <a:uFillTx/>
              </a:defRPr>
            </a:pPr>
            <a:r>
              <a:rPr lang="en-GB" sz="1200" i="1">
                <a:solidFill>
                  <a:srgbClr val="002060"/>
                </a:solidFill>
                <a:latin typeface="Calibri"/>
              </a:rPr>
              <a:t>A Managed Service Provider (MSP) is a contingent and/or statement of work service implemented by an external organization that combines process, personal expertise and technology to support an organization’s gig, temporary, temp-to-hire, direct hire, independent contractor administration, Statement of Work (SOW) hiring and other complex services such as vendor management.</a:t>
            </a:r>
          </a:p>
        </p:txBody>
      </p:sp>
      <p:sp>
        <p:nvSpPr>
          <p:cNvPr id="7" name="Title 1">
            <a:extLst>
              <a:ext uri="{FF2B5EF4-FFF2-40B4-BE49-F238E27FC236}">
                <a16:creationId xmlns:a16="http://schemas.microsoft.com/office/drawing/2014/main" id="{101693CD-F7CB-4884-A518-253D19D5F653}"/>
              </a:ext>
            </a:extLst>
          </p:cNvPr>
          <p:cNvSpPr txBox="1">
            <a:spLocks/>
          </p:cNvSpPr>
          <p:nvPr/>
        </p:nvSpPr>
        <p:spPr bwMode="auto">
          <a:xfrm>
            <a:off x="711200" y="162173"/>
            <a:ext cx="11018734" cy="421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r>
              <a:rPr lang="en-GB" sz="2800" kern="0"/>
              <a:t>What is a Worker?</a:t>
            </a:r>
          </a:p>
        </p:txBody>
      </p:sp>
      <p:sp>
        <p:nvSpPr>
          <p:cNvPr id="9" name="Rectangle: Rounded Corners 24">
            <a:extLst>
              <a:ext uri="{FF2B5EF4-FFF2-40B4-BE49-F238E27FC236}">
                <a16:creationId xmlns:a16="http://schemas.microsoft.com/office/drawing/2014/main" id="{E8C26807-360E-40A7-ACA1-CF5E703B7483}"/>
              </a:ext>
            </a:extLst>
          </p:cNvPr>
          <p:cNvSpPr/>
          <p:nvPr/>
        </p:nvSpPr>
        <p:spPr>
          <a:xfrm>
            <a:off x="9031173" y="3705598"/>
            <a:ext cx="1213685" cy="491429"/>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0148C"/>
          </a:solidFill>
          <a:ln cap="flat">
            <a:noFill/>
            <a:prstDash val="solid"/>
          </a:ln>
        </p:spPr>
        <p:txBody>
          <a:bodyPr vert="horz" wrap="square" lIns="91430" tIns="45720" rIns="91430" bIns="45720" anchor="ctr" anchorCtr="1" compatLnSpc="1">
            <a:noAutofit/>
          </a:bodyPr>
          <a:lstStyle/>
          <a:p>
            <a:pPr marL="0" marR="0" lvl="0" indent="0" algn="ctr" defTabSz="914400" rtl="0" fontAlgn="auto" hangingPunct="1">
              <a:lnSpc>
                <a:spcPct val="100000"/>
              </a:lnSpc>
              <a:spcBef>
                <a:spcPts val="0"/>
              </a:spcBef>
              <a:spcAft>
                <a:spcPts val="450"/>
              </a:spcAft>
              <a:buNone/>
              <a:tabLst/>
              <a:defRPr sz="1800" b="0" i="0" u="none" strike="noStrike" kern="0" cap="none" spc="0" baseline="0">
                <a:solidFill>
                  <a:srgbClr val="000000"/>
                </a:solidFill>
                <a:uFillTx/>
              </a:defRPr>
            </a:pPr>
            <a:r>
              <a:rPr lang="en-GB" sz="1200" b="1" i="0" u="none" strike="noStrike" kern="0" cap="none" spc="0" baseline="0">
                <a:solidFill>
                  <a:srgbClr val="FFFFFF"/>
                </a:solidFill>
                <a:uFillTx/>
                <a:latin typeface="Graphik" pitchFamily="34"/>
                <a:ea typeface="ＭＳ Ｐゴシック"/>
                <a:cs typeface="Arial"/>
              </a:rPr>
              <a:t>MSP</a:t>
            </a:r>
          </a:p>
        </p:txBody>
      </p:sp>
      <p:sp>
        <p:nvSpPr>
          <p:cNvPr id="10" name="Rectangle: Rounded Corners 25">
            <a:extLst>
              <a:ext uri="{FF2B5EF4-FFF2-40B4-BE49-F238E27FC236}">
                <a16:creationId xmlns:a16="http://schemas.microsoft.com/office/drawing/2014/main" id="{52E63C6E-D07C-4E5B-B8A7-1B171FDEEDD8}"/>
              </a:ext>
            </a:extLst>
          </p:cNvPr>
          <p:cNvSpPr/>
          <p:nvPr/>
        </p:nvSpPr>
        <p:spPr>
          <a:xfrm>
            <a:off x="962417" y="3712974"/>
            <a:ext cx="1213685" cy="491429"/>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0148C"/>
          </a:solidFill>
          <a:ln cap="flat">
            <a:noFill/>
            <a:prstDash val="solid"/>
          </a:ln>
        </p:spPr>
        <p:txBody>
          <a:bodyPr vert="horz" wrap="square" lIns="91430" tIns="45720" rIns="91430" bIns="45720" anchor="ctr" anchorCtr="1" compatLnSpc="1">
            <a:noAutofit/>
          </a:bodyPr>
          <a:lstStyle/>
          <a:p>
            <a:pPr marL="0" marR="0" lvl="0" indent="0" algn="ctr" defTabSz="914400" rtl="0" fontAlgn="auto" hangingPunct="1">
              <a:lnSpc>
                <a:spcPct val="100000"/>
              </a:lnSpc>
              <a:spcBef>
                <a:spcPts val="0"/>
              </a:spcBef>
              <a:spcAft>
                <a:spcPts val="450"/>
              </a:spcAft>
              <a:buNone/>
              <a:tabLst/>
              <a:defRPr sz="1800" b="0" i="0" u="none" strike="noStrike" kern="0" cap="none" spc="0" baseline="0">
                <a:solidFill>
                  <a:srgbClr val="000000"/>
                </a:solidFill>
                <a:uFillTx/>
              </a:defRPr>
            </a:pPr>
            <a:r>
              <a:rPr lang="en-GB" sz="1200" b="1" i="0" u="none" strike="noStrike" kern="0" cap="none" spc="0" baseline="0">
                <a:solidFill>
                  <a:srgbClr val="FFFFFF"/>
                </a:solidFill>
                <a:uFillTx/>
                <a:latin typeface="Graphik" pitchFamily="34"/>
                <a:ea typeface="ＭＳ Ｐゴシック"/>
                <a:cs typeface="Arial"/>
              </a:rPr>
              <a:t>Contingent Worker</a:t>
            </a:r>
          </a:p>
        </p:txBody>
      </p:sp>
      <p:sp>
        <p:nvSpPr>
          <p:cNvPr id="15" name="Rectangle: Rounded Corners 32">
            <a:extLst>
              <a:ext uri="{FF2B5EF4-FFF2-40B4-BE49-F238E27FC236}">
                <a16:creationId xmlns:a16="http://schemas.microsoft.com/office/drawing/2014/main" id="{FEE4DB54-8E2B-4D20-A56E-82CC9E4EED2B}"/>
              </a:ext>
            </a:extLst>
          </p:cNvPr>
          <p:cNvSpPr/>
          <p:nvPr/>
        </p:nvSpPr>
        <p:spPr>
          <a:xfrm>
            <a:off x="4835297" y="3744348"/>
            <a:ext cx="1213685" cy="491429"/>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0148C"/>
          </a:solidFill>
          <a:ln cap="flat">
            <a:noFill/>
            <a:prstDash val="solid"/>
          </a:ln>
        </p:spPr>
        <p:txBody>
          <a:bodyPr vert="horz" wrap="square" lIns="91430" tIns="45720" rIns="91430" bIns="45720" anchor="ctr" anchorCtr="1" compatLnSpc="1">
            <a:noAutofit/>
          </a:bodyPr>
          <a:lstStyle/>
          <a:p>
            <a:pPr marL="0" marR="0" lvl="0" indent="0" algn="ctr" defTabSz="914400" rtl="0" fontAlgn="auto" hangingPunct="1">
              <a:lnSpc>
                <a:spcPct val="100000"/>
              </a:lnSpc>
              <a:spcBef>
                <a:spcPts val="0"/>
              </a:spcBef>
              <a:spcAft>
                <a:spcPts val="450"/>
              </a:spcAft>
              <a:buNone/>
              <a:tabLst/>
              <a:defRPr sz="1800" b="0" i="0" u="none" strike="noStrike" kern="0" cap="none" spc="0" baseline="0">
                <a:solidFill>
                  <a:srgbClr val="000000"/>
                </a:solidFill>
                <a:uFillTx/>
              </a:defRPr>
            </a:pPr>
            <a:r>
              <a:rPr lang="en-GB" sz="1200" b="1" i="0" u="none" strike="noStrike" kern="0" cap="none" spc="0" baseline="0">
                <a:solidFill>
                  <a:srgbClr val="FFFFFF"/>
                </a:solidFill>
                <a:uFillTx/>
                <a:latin typeface="Graphik" pitchFamily="34"/>
                <a:ea typeface="ＭＳ Ｐゴシック"/>
                <a:cs typeface="Arial"/>
              </a:rPr>
              <a:t>Employee</a:t>
            </a:r>
          </a:p>
        </p:txBody>
      </p:sp>
      <p:pic>
        <p:nvPicPr>
          <p:cNvPr id="24" name="Graphic 23" descr="Construction worker">
            <a:extLst>
              <a:ext uri="{FF2B5EF4-FFF2-40B4-BE49-F238E27FC236}">
                <a16:creationId xmlns:a16="http://schemas.microsoft.com/office/drawing/2014/main" id="{92ABCBD7-0B26-4CE6-9942-37B3ED56E3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06506" y="530208"/>
            <a:ext cx="719854" cy="719854"/>
          </a:xfrm>
          <a:prstGeom prst="rect">
            <a:avLst/>
          </a:prstGeom>
        </p:spPr>
      </p:pic>
      <p:sp>
        <p:nvSpPr>
          <p:cNvPr id="28" name="Rectangle: Rounded Corners 32">
            <a:extLst>
              <a:ext uri="{FF2B5EF4-FFF2-40B4-BE49-F238E27FC236}">
                <a16:creationId xmlns:a16="http://schemas.microsoft.com/office/drawing/2014/main" id="{138EBA15-F3F3-4E74-A47A-AD2B47CCC953}"/>
              </a:ext>
            </a:extLst>
          </p:cNvPr>
          <p:cNvSpPr/>
          <p:nvPr/>
        </p:nvSpPr>
        <p:spPr>
          <a:xfrm>
            <a:off x="4835297" y="1193823"/>
            <a:ext cx="1213685" cy="491429"/>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0148C"/>
          </a:solidFill>
          <a:ln cap="flat">
            <a:noFill/>
            <a:prstDash val="solid"/>
          </a:ln>
        </p:spPr>
        <p:txBody>
          <a:bodyPr vert="horz" wrap="square" lIns="91430" tIns="45720" rIns="91430" bIns="45720" anchor="ctr" anchorCtr="1" compatLnSpc="1">
            <a:noAutofit/>
          </a:bodyPr>
          <a:lstStyle/>
          <a:p>
            <a:pPr marL="0" marR="0" lvl="0" indent="0" algn="ctr" defTabSz="914400" rtl="0" fontAlgn="auto" hangingPunct="1">
              <a:lnSpc>
                <a:spcPct val="100000"/>
              </a:lnSpc>
              <a:spcBef>
                <a:spcPts val="0"/>
              </a:spcBef>
              <a:spcAft>
                <a:spcPts val="450"/>
              </a:spcAft>
              <a:buNone/>
              <a:tabLst/>
              <a:defRPr sz="1800" b="0" i="0" u="none" strike="noStrike" kern="0" cap="none" spc="0" baseline="0">
                <a:solidFill>
                  <a:srgbClr val="000000"/>
                </a:solidFill>
                <a:uFillTx/>
              </a:defRPr>
            </a:pPr>
            <a:r>
              <a:rPr lang="en-GB" sz="1200" b="1" i="0" u="none" strike="noStrike" kern="0" cap="none" spc="0" baseline="0">
                <a:solidFill>
                  <a:srgbClr val="FFFFFF"/>
                </a:solidFill>
                <a:uFillTx/>
                <a:latin typeface="Graphik" pitchFamily="34"/>
                <a:ea typeface="ＭＳ Ｐゴシック"/>
                <a:cs typeface="Arial"/>
              </a:rPr>
              <a:t>Worker</a:t>
            </a:r>
          </a:p>
        </p:txBody>
      </p:sp>
      <p:cxnSp>
        <p:nvCxnSpPr>
          <p:cNvPr id="29" name="Straight Arrow Connector 28">
            <a:extLst>
              <a:ext uri="{FF2B5EF4-FFF2-40B4-BE49-F238E27FC236}">
                <a16:creationId xmlns:a16="http://schemas.microsoft.com/office/drawing/2014/main" id="{96923A54-4321-4825-BC5B-24E76A97D289}"/>
              </a:ext>
            </a:extLst>
          </p:cNvPr>
          <p:cNvCxnSpPr>
            <a:stCxn id="28" idx="2"/>
            <a:endCxn id="15" idx="0"/>
          </p:cNvCxnSpPr>
          <p:nvPr/>
        </p:nvCxnSpPr>
        <p:spPr bwMode="auto">
          <a:xfrm>
            <a:off x="5442140" y="1685252"/>
            <a:ext cx="0" cy="2059096"/>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Connector: Elbow 30">
            <a:extLst>
              <a:ext uri="{FF2B5EF4-FFF2-40B4-BE49-F238E27FC236}">
                <a16:creationId xmlns:a16="http://schemas.microsoft.com/office/drawing/2014/main" id="{B436940D-B40D-465D-902F-F51646787E88}"/>
              </a:ext>
            </a:extLst>
          </p:cNvPr>
          <p:cNvCxnSpPr>
            <a:stCxn id="28" idx="2"/>
            <a:endCxn id="10" idx="0"/>
          </p:cNvCxnSpPr>
          <p:nvPr/>
        </p:nvCxnSpPr>
        <p:spPr bwMode="auto">
          <a:xfrm rot="5400000">
            <a:off x="2491839" y="762673"/>
            <a:ext cx="2027722" cy="3872880"/>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Connector: Elbow 35">
            <a:extLst>
              <a:ext uri="{FF2B5EF4-FFF2-40B4-BE49-F238E27FC236}">
                <a16:creationId xmlns:a16="http://schemas.microsoft.com/office/drawing/2014/main" id="{AC26B6B2-C28B-4F8D-BEDA-7CE7E0A5F2F0}"/>
              </a:ext>
            </a:extLst>
          </p:cNvPr>
          <p:cNvCxnSpPr>
            <a:stCxn id="28" idx="2"/>
            <a:endCxn id="9" idx="0"/>
          </p:cNvCxnSpPr>
          <p:nvPr/>
        </p:nvCxnSpPr>
        <p:spPr bwMode="auto">
          <a:xfrm rot="16200000" flipH="1">
            <a:off x="6529905" y="597487"/>
            <a:ext cx="2020346" cy="4195876"/>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Rectangle 17">
            <a:extLst>
              <a:ext uri="{FF2B5EF4-FFF2-40B4-BE49-F238E27FC236}">
                <a16:creationId xmlns:a16="http://schemas.microsoft.com/office/drawing/2014/main" id="{C9201B66-CBC8-408D-91CE-2265E30856A7}"/>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Tree>
    <p:extLst>
      <p:ext uri="{BB962C8B-B14F-4D97-AF65-F5344CB8AC3E}">
        <p14:creationId xmlns:p14="http://schemas.microsoft.com/office/powerpoint/2010/main" val="2640996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61898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78A06-5D7F-48CD-ADC9-0A6414280E94}"/>
              </a:ext>
            </a:extLst>
          </p:cNvPr>
          <p:cNvSpPr>
            <a:spLocks noGrp="1"/>
          </p:cNvSpPr>
          <p:nvPr>
            <p:ph type="title"/>
          </p:nvPr>
        </p:nvSpPr>
        <p:spPr>
          <a:xfrm>
            <a:off x="430373" y="356767"/>
            <a:ext cx="11329827" cy="574516"/>
          </a:xfrm>
        </p:spPr>
        <p:txBody>
          <a:bodyPr/>
          <a:lstStyle/>
          <a:p>
            <a:r>
              <a:rPr lang="en-US"/>
              <a:t>Executive Summary</a:t>
            </a:r>
          </a:p>
        </p:txBody>
      </p:sp>
      <p:sp>
        <p:nvSpPr>
          <p:cNvPr id="4" name="Rectangle 3">
            <a:extLst>
              <a:ext uri="{FF2B5EF4-FFF2-40B4-BE49-F238E27FC236}">
                <a16:creationId xmlns:a16="http://schemas.microsoft.com/office/drawing/2014/main" id="{9A3D5A5F-3F65-41E9-AEDA-C93706787AF0}"/>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
        <p:nvSpPr>
          <p:cNvPr id="14" name="Text Placeholder 9">
            <a:extLst>
              <a:ext uri="{FF2B5EF4-FFF2-40B4-BE49-F238E27FC236}">
                <a16:creationId xmlns:a16="http://schemas.microsoft.com/office/drawing/2014/main" id="{538754E0-F034-4569-B53B-33A872030EC2}"/>
              </a:ext>
            </a:extLst>
          </p:cNvPr>
          <p:cNvSpPr txBox="1">
            <a:spLocks/>
          </p:cNvSpPr>
          <p:nvPr/>
        </p:nvSpPr>
        <p:spPr>
          <a:xfrm>
            <a:off x="466553" y="1205477"/>
            <a:ext cx="11222504" cy="5398980"/>
          </a:xfrm>
        </p:spPr>
        <p:txBody>
          <a:bodyPr anchor="t"/>
          <a:lstStyle>
            <a:defPPr>
              <a:defRPr lang="en-GB"/>
            </a:defPPr>
            <a:lvl1pPr marL="0" indent="0" algn="l" rtl="0" eaLnBrk="1" fontAlgn="auto" hangingPunct="1">
              <a:spcBef>
                <a:spcPts val="0"/>
              </a:spcBef>
              <a:spcAft>
                <a:spcPts val="0"/>
              </a:spcAft>
              <a:buClr>
                <a:schemeClr val="tx1"/>
              </a:buClr>
              <a:buFontTx/>
              <a:buNone/>
              <a:defRPr sz="1800" b="0" dirty="0">
                <a:solidFill>
                  <a:schemeClr val="tx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lvl="1" indent="-167">
              <a:spcAft>
                <a:spcPts val="533"/>
              </a:spcAft>
            </a:pPr>
            <a:endParaRPr lang="en-US" sz="1600">
              <a:solidFill>
                <a:srgbClr val="00148C"/>
              </a:solidFill>
              <a:cs typeface="Arial"/>
            </a:endParaRPr>
          </a:p>
        </p:txBody>
      </p:sp>
      <p:sp>
        <p:nvSpPr>
          <p:cNvPr id="16" name="Rectangle 15">
            <a:extLst>
              <a:ext uri="{FF2B5EF4-FFF2-40B4-BE49-F238E27FC236}">
                <a16:creationId xmlns:a16="http://schemas.microsoft.com/office/drawing/2014/main" id="{642D4DBA-35BE-4E67-BFD8-A85ADA2BDE37}"/>
              </a:ext>
            </a:extLst>
          </p:cNvPr>
          <p:cNvSpPr/>
          <p:nvPr/>
        </p:nvSpPr>
        <p:spPr>
          <a:xfrm>
            <a:off x="430373" y="1003097"/>
            <a:ext cx="11222504" cy="2513509"/>
          </a:xfrm>
          <a:prstGeom prst="rect">
            <a:avLst/>
          </a:prstGeom>
        </p:spPr>
        <p:txBody>
          <a:bodyPr wrap="square" lIns="91440" tIns="45720" rIns="91440" bIns="45720" anchor="t">
            <a:spAutoFit/>
          </a:bodyPr>
          <a:lstStyle/>
          <a:p>
            <a:pPr lvl="1">
              <a:spcAft>
                <a:spcPts val="133"/>
              </a:spcAft>
            </a:pPr>
            <a:r>
              <a:rPr lang="en-US" sz="1400" b="1" i="1" dirty="0">
                <a:solidFill>
                  <a:srgbClr val="00148C"/>
                </a:solidFill>
                <a:cs typeface="Arial"/>
              </a:rPr>
              <a:t>Following the Group Data Strategy presentation to ITLT on 24</a:t>
            </a:r>
            <a:r>
              <a:rPr lang="en-US" sz="1400" b="1" i="1" baseline="30000" dirty="0">
                <a:solidFill>
                  <a:srgbClr val="00148C"/>
                </a:solidFill>
                <a:cs typeface="Arial"/>
              </a:rPr>
              <a:t>th</a:t>
            </a:r>
            <a:r>
              <a:rPr lang="en-US" sz="1400" b="1" i="1" dirty="0">
                <a:solidFill>
                  <a:srgbClr val="00148C"/>
                </a:solidFill>
                <a:cs typeface="Arial"/>
              </a:rPr>
              <a:t> June a request was made to report back on the source systems, specifically for Workforce Data, the current challenges today and how the Group Data Strategy will tackle and resolve these issues.</a:t>
            </a:r>
          </a:p>
          <a:p>
            <a:pPr lvl="1">
              <a:spcAft>
                <a:spcPts val="133"/>
              </a:spcAft>
            </a:pPr>
            <a:endParaRPr lang="en-US" sz="1400" dirty="0">
              <a:solidFill>
                <a:srgbClr val="00148C"/>
              </a:solidFill>
              <a:cs typeface="Arial"/>
            </a:endParaRPr>
          </a:p>
          <a:p>
            <a:pPr lvl="1">
              <a:spcAft>
                <a:spcPts val="133"/>
              </a:spcAft>
            </a:pPr>
            <a:r>
              <a:rPr lang="en-US" sz="1400" dirty="0">
                <a:solidFill>
                  <a:srgbClr val="00148C"/>
                </a:solidFill>
                <a:cs typeface="Arial"/>
              </a:rPr>
              <a:t>A deep dive was completed on the Workforce Domain in 2020 that identified three major challenges:</a:t>
            </a:r>
          </a:p>
          <a:p>
            <a:pPr lvl="1">
              <a:spcAft>
                <a:spcPts val="133"/>
              </a:spcAft>
            </a:pPr>
            <a:endParaRPr lang="en-US" sz="1400" dirty="0">
              <a:solidFill>
                <a:srgbClr val="00148C"/>
              </a:solidFill>
              <a:cs typeface="Arial"/>
            </a:endParaRPr>
          </a:p>
          <a:p>
            <a:pPr lvl="1"/>
            <a:endParaRPr lang="en-US" sz="1400" dirty="0">
              <a:solidFill>
                <a:srgbClr val="00148C"/>
              </a:solidFill>
              <a:cs typeface="Arial"/>
            </a:endParaRPr>
          </a:p>
          <a:p>
            <a:pPr lvl="1"/>
            <a:endParaRPr lang="en-US" sz="1400" dirty="0">
              <a:solidFill>
                <a:srgbClr val="00148C"/>
              </a:solidFill>
              <a:cs typeface="Arial"/>
            </a:endParaRPr>
          </a:p>
          <a:p>
            <a:pPr lvl="2"/>
            <a:endParaRPr lang="en-US" sz="1400" dirty="0">
              <a:solidFill>
                <a:srgbClr val="00148C"/>
              </a:solidFill>
              <a:cs typeface="Arial"/>
            </a:endParaRPr>
          </a:p>
          <a:p>
            <a:pPr marL="742950" lvl="1" indent="-285750">
              <a:buFont typeface="Arial"/>
              <a:buChar char="•"/>
            </a:pPr>
            <a:endParaRPr lang="en-US" sz="1400" dirty="0">
              <a:solidFill>
                <a:srgbClr val="00148C"/>
              </a:solidFill>
              <a:cs typeface="Arial"/>
            </a:endParaRPr>
          </a:p>
          <a:p>
            <a:pPr lvl="1">
              <a:spcAft>
                <a:spcPts val="133"/>
              </a:spcAft>
            </a:pPr>
            <a:endParaRPr lang="en-US" sz="1400" b="1" u="sng" dirty="0">
              <a:solidFill>
                <a:srgbClr val="00148C"/>
              </a:solidFill>
              <a:cs typeface="Arial"/>
            </a:endParaRPr>
          </a:p>
        </p:txBody>
      </p:sp>
      <p:graphicFrame>
        <p:nvGraphicFramePr>
          <p:cNvPr id="3" name="Table 4">
            <a:extLst>
              <a:ext uri="{FF2B5EF4-FFF2-40B4-BE49-F238E27FC236}">
                <a16:creationId xmlns:a16="http://schemas.microsoft.com/office/drawing/2014/main" id="{B9BE99C4-8C9A-49C3-8DEB-59632364C38C}"/>
              </a:ext>
            </a:extLst>
          </p:cNvPr>
          <p:cNvGraphicFramePr>
            <a:graphicFrameLocks noGrp="1"/>
          </p:cNvGraphicFramePr>
          <p:nvPr>
            <p:extLst>
              <p:ext uri="{D42A27DB-BD31-4B8C-83A1-F6EECF244321}">
                <p14:modId xmlns:p14="http://schemas.microsoft.com/office/powerpoint/2010/main" val="2358022591"/>
              </p:ext>
            </p:extLst>
          </p:nvPr>
        </p:nvGraphicFramePr>
        <p:xfrm>
          <a:off x="981974" y="2472407"/>
          <a:ext cx="10173705" cy="2834640"/>
        </p:xfrm>
        <a:graphic>
          <a:graphicData uri="http://schemas.openxmlformats.org/drawingml/2006/table">
            <a:tbl>
              <a:tblPr firstRow="1" bandRow="1">
                <a:tableStyleId>{5C22544A-7EE6-4342-B048-85BDC9FD1C3A}</a:tableStyleId>
              </a:tblPr>
              <a:tblGrid>
                <a:gridCol w="3168921">
                  <a:extLst>
                    <a:ext uri="{9D8B030D-6E8A-4147-A177-3AD203B41FA5}">
                      <a16:colId xmlns:a16="http://schemas.microsoft.com/office/drawing/2014/main" val="3219152426"/>
                    </a:ext>
                  </a:extLst>
                </a:gridCol>
                <a:gridCol w="3613549">
                  <a:extLst>
                    <a:ext uri="{9D8B030D-6E8A-4147-A177-3AD203B41FA5}">
                      <a16:colId xmlns:a16="http://schemas.microsoft.com/office/drawing/2014/main" val="3252121464"/>
                    </a:ext>
                  </a:extLst>
                </a:gridCol>
                <a:gridCol w="3391235">
                  <a:extLst>
                    <a:ext uri="{9D8B030D-6E8A-4147-A177-3AD203B41FA5}">
                      <a16:colId xmlns:a16="http://schemas.microsoft.com/office/drawing/2014/main" val="1191529310"/>
                    </a:ext>
                  </a:extLst>
                </a:gridCol>
              </a:tblGrid>
              <a:tr h="0">
                <a:tc>
                  <a:txBody>
                    <a:bodyPr/>
                    <a:lstStyle/>
                    <a:p>
                      <a:r>
                        <a:rPr lang="en-GB" dirty="0"/>
                        <a:t>Challenge</a:t>
                      </a:r>
                    </a:p>
                  </a:txBody>
                  <a:tcPr/>
                </a:tc>
                <a:tc>
                  <a:txBody>
                    <a:bodyPr/>
                    <a:lstStyle/>
                    <a:p>
                      <a:r>
                        <a:rPr lang="en-GB" dirty="0"/>
                        <a:t>Proposed Solution</a:t>
                      </a:r>
                    </a:p>
                  </a:txBody>
                  <a:tcPr/>
                </a:tc>
                <a:tc>
                  <a:txBody>
                    <a:bodyPr/>
                    <a:lstStyle/>
                    <a:p>
                      <a:r>
                        <a:rPr lang="en-GB" dirty="0"/>
                        <a:t>Solution Status</a:t>
                      </a:r>
                    </a:p>
                  </a:txBody>
                  <a:tcPr/>
                </a:tc>
                <a:extLst>
                  <a:ext uri="{0D108BD9-81ED-4DB2-BD59-A6C34878D82A}">
                    <a16:rowId xmlns:a16="http://schemas.microsoft.com/office/drawing/2014/main" val="1664545464"/>
                  </a:ext>
                </a:extLst>
              </a:tr>
              <a:tr h="370840">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US" sz="1400" b="0" dirty="0">
                          <a:solidFill>
                            <a:srgbClr val="00148C"/>
                          </a:solidFill>
                          <a:cs typeface="Arial"/>
                        </a:rPr>
                        <a:t>Lack of master data source for workforce</a:t>
                      </a:r>
                    </a:p>
                    <a:p>
                      <a:endParaRPr lang="en-GB" sz="1400" b="0" dirty="0"/>
                    </a:p>
                  </a:txBody>
                  <a:tcPr/>
                </a:tc>
                <a:tc>
                  <a:txBody>
                    <a:bodyPr/>
                    <a:lstStyle/>
                    <a:p>
                      <a:r>
                        <a:rPr lang="en-GB" sz="1400" b="0" dirty="0"/>
                        <a:t>Establish golden master record</a:t>
                      </a:r>
                    </a:p>
                    <a:p>
                      <a:r>
                        <a:rPr lang="en-GB" sz="1400" b="0" dirty="0"/>
                        <a:t>Combine and share data from Master Data Management into Enterprise Data Platform</a:t>
                      </a:r>
                    </a:p>
                  </a:txBody>
                  <a:tcPr/>
                </a:tc>
                <a:tc>
                  <a:txBody>
                    <a:bodyPr/>
                    <a:lstStyle/>
                    <a:p>
                      <a:r>
                        <a:rPr lang="en-GB" sz="1400" b="0" dirty="0"/>
                        <a:t>Workforce Data Domain Project (Start-up end July) and Global Workforce Tracking Project (On Hold)</a:t>
                      </a:r>
                    </a:p>
                  </a:txBody>
                  <a:tcPr/>
                </a:tc>
                <a:extLst>
                  <a:ext uri="{0D108BD9-81ED-4DB2-BD59-A6C34878D82A}">
                    <a16:rowId xmlns:a16="http://schemas.microsoft.com/office/drawing/2014/main" val="959439795"/>
                  </a:ext>
                </a:extLst>
              </a:tr>
              <a:tr h="370840">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US" sz="1400" b="0">
                          <a:solidFill>
                            <a:srgbClr val="00148C"/>
                          </a:solidFill>
                          <a:cs typeface="Arial"/>
                        </a:rPr>
                        <a:t>Data quality issues, lack of trust ; misunderstanding of data</a:t>
                      </a:r>
                    </a:p>
                    <a:p>
                      <a:endParaRPr lang="en-GB" sz="1400" b="0"/>
                    </a:p>
                  </a:txBody>
                  <a:tcPr/>
                </a:tc>
                <a:tc>
                  <a:txBody>
                    <a:bodyPr/>
                    <a:lstStyle/>
                    <a:p>
                      <a:r>
                        <a:rPr lang="en-GB" sz="1400" b="0" dirty="0"/>
                        <a:t>Data Quality reporting and ongoing business ownership of data</a:t>
                      </a:r>
                    </a:p>
                  </a:txBody>
                  <a:tcPr/>
                </a:tc>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400" b="0" dirty="0"/>
                        <a:t>Workforce Data Domain Project (Start-up end July)</a:t>
                      </a:r>
                    </a:p>
                    <a:p>
                      <a:endParaRPr lang="en-GB" sz="1400" b="0" dirty="0"/>
                    </a:p>
                  </a:txBody>
                  <a:tcPr/>
                </a:tc>
                <a:extLst>
                  <a:ext uri="{0D108BD9-81ED-4DB2-BD59-A6C34878D82A}">
                    <a16:rowId xmlns:a16="http://schemas.microsoft.com/office/drawing/2014/main" val="3251503395"/>
                  </a:ext>
                </a:extLst>
              </a:tr>
              <a:tr h="370840">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US" sz="1400" b="0" dirty="0">
                          <a:solidFill>
                            <a:srgbClr val="00148C"/>
                          </a:solidFill>
                          <a:cs typeface="Arial"/>
                        </a:rPr>
                        <a:t>Headcount reporting issues across HR and Finance systems</a:t>
                      </a:r>
                    </a:p>
                    <a:p>
                      <a:endParaRPr lang="en-GB" sz="1400" b="0" dirty="0"/>
                    </a:p>
                  </a:txBody>
                  <a:tcPr/>
                </a:tc>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400" b="0" dirty="0"/>
                        <a:t>The above solutions will help, plus, better controls over downstream data interfaces and improved report/data training</a:t>
                      </a:r>
                    </a:p>
                  </a:txBody>
                  <a:tcPr/>
                </a:tc>
                <a:tc>
                  <a:txBody>
                    <a:bodyPr/>
                    <a:lstStyle/>
                    <a:p>
                      <a:r>
                        <a:rPr lang="en-GB" sz="1400" b="0" dirty="0"/>
                        <a:t>Raising awareness through training and education, supported partially through Workforce Data Domain project</a:t>
                      </a:r>
                    </a:p>
                  </a:txBody>
                  <a:tcPr/>
                </a:tc>
                <a:extLst>
                  <a:ext uri="{0D108BD9-81ED-4DB2-BD59-A6C34878D82A}">
                    <a16:rowId xmlns:a16="http://schemas.microsoft.com/office/drawing/2014/main" val="3127045698"/>
                  </a:ext>
                </a:extLst>
              </a:tr>
            </a:tbl>
          </a:graphicData>
        </a:graphic>
      </p:graphicFrame>
      <p:sp>
        <p:nvSpPr>
          <p:cNvPr id="7" name="Rectangle 6">
            <a:extLst>
              <a:ext uri="{FF2B5EF4-FFF2-40B4-BE49-F238E27FC236}">
                <a16:creationId xmlns:a16="http://schemas.microsoft.com/office/drawing/2014/main" id="{0152D32C-30A0-407E-94EA-EFBA4F873C0F}"/>
              </a:ext>
            </a:extLst>
          </p:cNvPr>
          <p:cNvSpPr/>
          <p:nvPr/>
        </p:nvSpPr>
        <p:spPr>
          <a:xfrm>
            <a:off x="5039870" y="5581241"/>
            <a:ext cx="6115809" cy="671979"/>
          </a:xfrm>
          <a:prstGeom prst="rect">
            <a:avLst/>
          </a:prstGeom>
          <a:solidFill>
            <a:srgbClr val="00148C"/>
          </a:solidFill>
        </p:spPr>
        <p:txBody>
          <a:bodyPr wrap="square">
            <a:spAutoFit/>
          </a:bodyPr>
          <a:lstStyle/>
          <a:p>
            <a:pPr>
              <a:spcAft>
                <a:spcPts val="133"/>
              </a:spcAft>
            </a:pPr>
            <a:r>
              <a:rPr lang="en-US" sz="1200" b="1" dirty="0">
                <a:solidFill>
                  <a:schemeClr val="bg1"/>
                </a:solidFill>
                <a:cs typeface="Arial"/>
              </a:rPr>
              <a:t>Additional Support Required:</a:t>
            </a:r>
          </a:p>
          <a:p>
            <a:pPr marL="171450" indent="-171450">
              <a:spcAft>
                <a:spcPts val="133"/>
              </a:spcAft>
              <a:buFont typeface="Arial" panose="020B0604020202020204" pitchFamily="34" charset="0"/>
              <a:buChar char="•"/>
            </a:pPr>
            <a:r>
              <a:rPr lang="en-GB" sz="1200" dirty="0">
                <a:solidFill>
                  <a:schemeClr val="bg1"/>
                </a:solidFill>
                <a:cs typeface="Arial"/>
              </a:rPr>
              <a:t>The Global Workforce Tracking Project remains on hold</a:t>
            </a:r>
          </a:p>
          <a:p>
            <a:pPr marL="171450" indent="-171450">
              <a:spcAft>
                <a:spcPts val="133"/>
              </a:spcAft>
              <a:buFont typeface="Arial" panose="020B0604020202020204" pitchFamily="34" charset="0"/>
              <a:buChar char="•"/>
            </a:pPr>
            <a:r>
              <a:rPr lang="en-GB" sz="1200" dirty="0">
                <a:solidFill>
                  <a:schemeClr val="bg1"/>
                </a:solidFill>
                <a:cs typeface="Arial"/>
              </a:rPr>
              <a:t>Wider Enterprise approach to raise reporting/data understanding</a:t>
            </a:r>
          </a:p>
        </p:txBody>
      </p:sp>
    </p:spTree>
    <p:extLst>
      <p:ext uri="{BB962C8B-B14F-4D97-AF65-F5344CB8AC3E}">
        <p14:creationId xmlns:p14="http://schemas.microsoft.com/office/powerpoint/2010/main" val="1760984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5BFCB-E9C1-4307-B342-9F39692E355F}"/>
              </a:ext>
            </a:extLst>
          </p:cNvPr>
          <p:cNvSpPr>
            <a:spLocks noGrp="1"/>
          </p:cNvSpPr>
          <p:nvPr>
            <p:ph type="title"/>
          </p:nvPr>
        </p:nvSpPr>
        <p:spPr/>
        <p:txBody>
          <a:bodyPr/>
          <a:lstStyle/>
          <a:p>
            <a:r>
              <a:rPr lang="en-GB"/>
              <a:t>Master Data Management</a:t>
            </a:r>
          </a:p>
        </p:txBody>
      </p:sp>
      <p:sp>
        <p:nvSpPr>
          <p:cNvPr id="6" name="Rectangle 5">
            <a:extLst>
              <a:ext uri="{FF2B5EF4-FFF2-40B4-BE49-F238E27FC236}">
                <a16:creationId xmlns:a16="http://schemas.microsoft.com/office/drawing/2014/main" id="{A8827986-86D2-4F53-9F9A-1FE20F032AB0}"/>
              </a:ext>
            </a:extLst>
          </p:cNvPr>
          <p:cNvSpPr/>
          <p:nvPr/>
        </p:nvSpPr>
        <p:spPr>
          <a:xfrm>
            <a:off x="430373" y="859001"/>
            <a:ext cx="11222504" cy="584775"/>
          </a:xfrm>
          <a:prstGeom prst="rect">
            <a:avLst/>
          </a:prstGeom>
        </p:spPr>
        <p:txBody>
          <a:bodyPr wrap="square">
            <a:spAutoFit/>
          </a:bodyPr>
          <a:lstStyle/>
          <a:p>
            <a:pPr>
              <a:spcAft>
                <a:spcPts val="133"/>
              </a:spcAft>
            </a:pPr>
            <a:r>
              <a:rPr lang="en-US" sz="1600">
                <a:solidFill>
                  <a:srgbClr val="00148C"/>
                </a:solidFill>
                <a:cs typeface="Arial"/>
              </a:rPr>
              <a:t>Today in the absence of Workforce master data and accompanying data solutions it is difficult to report and manage total workforce numbers accurately and consistently</a:t>
            </a:r>
            <a:endParaRPr lang="en-US" sz="1600" b="1" u="sng">
              <a:solidFill>
                <a:srgbClr val="00148C"/>
              </a:solidFill>
              <a:cs typeface="Arial"/>
            </a:endParaRPr>
          </a:p>
        </p:txBody>
      </p:sp>
      <p:grpSp>
        <p:nvGrpSpPr>
          <p:cNvPr id="178" name="Group 177">
            <a:extLst>
              <a:ext uri="{FF2B5EF4-FFF2-40B4-BE49-F238E27FC236}">
                <a16:creationId xmlns:a16="http://schemas.microsoft.com/office/drawing/2014/main" id="{4EBBA0D8-7FD3-446B-B193-093340CF3635}"/>
              </a:ext>
            </a:extLst>
          </p:cNvPr>
          <p:cNvGrpSpPr/>
          <p:nvPr/>
        </p:nvGrpSpPr>
        <p:grpSpPr>
          <a:xfrm>
            <a:off x="430369" y="1746815"/>
            <a:ext cx="5201913" cy="4029134"/>
            <a:chOff x="430373" y="1746815"/>
            <a:chExt cx="4896081" cy="4029134"/>
          </a:xfrm>
        </p:grpSpPr>
        <p:cxnSp>
          <p:nvCxnSpPr>
            <p:cNvPr id="51" name="Straight Connector 50">
              <a:extLst>
                <a:ext uri="{FF2B5EF4-FFF2-40B4-BE49-F238E27FC236}">
                  <a16:creationId xmlns:a16="http://schemas.microsoft.com/office/drawing/2014/main" id="{6A6830A9-E8C2-4AAA-84CF-42D7466D7971}"/>
                </a:ext>
              </a:extLst>
            </p:cNvPr>
            <p:cNvCxnSpPr>
              <a:stCxn id="22" idx="2"/>
              <a:endCxn id="24" idx="0"/>
            </p:cNvCxnSpPr>
            <p:nvPr/>
          </p:nvCxnSpPr>
          <p:spPr bwMode="auto">
            <a:xfrm flipH="1">
              <a:off x="2241871" y="4443242"/>
              <a:ext cx="625249" cy="73147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Flowchart: Magnetic Disk 6">
              <a:extLst>
                <a:ext uri="{FF2B5EF4-FFF2-40B4-BE49-F238E27FC236}">
                  <a16:creationId xmlns:a16="http://schemas.microsoft.com/office/drawing/2014/main" id="{B81D1DD6-C411-4C17-91D7-583D53814FC5}"/>
                </a:ext>
              </a:extLst>
            </p:cNvPr>
            <p:cNvSpPr/>
            <p:nvPr/>
          </p:nvSpPr>
          <p:spPr bwMode="auto">
            <a:xfrm>
              <a:off x="792833" y="3355674"/>
              <a:ext cx="866223" cy="479297"/>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cs typeface="Arial"/>
                </a:rPr>
                <a:t>MyHub</a:t>
              </a:r>
              <a:endParaRPr lang="en-GB" sz="900" b="1">
                <a:solidFill>
                  <a:schemeClr val="bg1"/>
                </a:solidFill>
                <a:latin typeface="+mn-lt"/>
                <a:cs typeface="Arial"/>
              </a:endParaRPr>
            </a:p>
          </p:txBody>
        </p:sp>
        <p:sp>
          <p:nvSpPr>
            <p:cNvPr id="11" name="Flowchart: Magnetic Disk 10">
              <a:extLst>
                <a:ext uri="{FF2B5EF4-FFF2-40B4-BE49-F238E27FC236}">
                  <a16:creationId xmlns:a16="http://schemas.microsoft.com/office/drawing/2014/main" id="{A31A092B-8474-44FA-B302-17B841CAC2E3}"/>
                </a:ext>
              </a:extLst>
            </p:cNvPr>
            <p:cNvSpPr/>
            <p:nvPr/>
          </p:nvSpPr>
          <p:spPr bwMode="auto">
            <a:xfrm>
              <a:off x="3693904" y="3355674"/>
              <a:ext cx="605798" cy="479297"/>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latin typeface="+mn-lt"/>
                  <a:cs typeface="Arial"/>
                </a:rPr>
                <a:t>ACG (UK)</a:t>
              </a:r>
            </a:p>
          </p:txBody>
        </p:sp>
        <p:pic>
          <p:nvPicPr>
            <p:cNvPr id="13" name="Graphic 12" descr="Group">
              <a:extLst>
                <a:ext uri="{FF2B5EF4-FFF2-40B4-BE49-F238E27FC236}">
                  <a16:creationId xmlns:a16="http://schemas.microsoft.com/office/drawing/2014/main" id="{B10EB891-95D6-4D93-92C0-783FF4218B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5910" y="1980832"/>
              <a:ext cx="863146" cy="864963"/>
            </a:xfrm>
            <a:prstGeom prst="rect">
              <a:avLst/>
            </a:prstGeom>
          </p:spPr>
        </p:pic>
        <p:sp>
          <p:nvSpPr>
            <p:cNvPr id="14" name="TextBox 13">
              <a:extLst>
                <a:ext uri="{FF2B5EF4-FFF2-40B4-BE49-F238E27FC236}">
                  <a16:creationId xmlns:a16="http://schemas.microsoft.com/office/drawing/2014/main" id="{2D58482B-4A81-4E34-BCAE-B57A1B5D6448}"/>
                </a:ext>
              </a:extLst>
            </p:cNvPr>
            <p:cNvSpPr txBox="1"/>
            <p:nvPr/>
          </p:nvSpPr>
          <p:spPr bwMode="auto">
            <a:xfrm>
              <a:off x="588679" y="2875733"/>
              <a:ext cx="12745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kern="0"/>
                <a:t>Employees &amp; US Contingent Workers</a:t>
              </a:r>
              <a:endParaRPr lang="en-GB" sz="1200" b="0" kern="0">
                <a:solidFill>
                  <a:schemeClr val="tx1"/>
                </a:solidFill>
                <a:latin typeface="+mn-lt"/>
                <a:ea typeface="+mn-ea"/>
              </a:endParaRPr>
            </a:p>
          </p:txBody>
        </p:sp>
        <p:pic>
          <p:nvPicPr>
            <p:cNvPr id="15" name="Graphic 14" descr="Group">
              <a:extLst>
                <a:ext uri="{FF2B5EF4-FFF2-40B4-BE49-F238E27FC236}">
                  <a16:creationId xmlns:a16="http://schemas.microsoft.com/office/drawing/2014/main" id="{37F14CBE-6142-4383-9885-4B764EAB81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75090" y="1980832"/>
              <a:ext cx="863146" cy="864963"/>
            </a:xfrm>
            <a:prstGeom prst="rect">
              <a:avLst/>
            </a:prstGeom>
          </p:spPr>
        </p:pic>
        <p:sp>
          <p:nvSpPr>
            <p:cNvPr id="16" name="TextBox 15">
              <a:extLst>
                <a:ext uri="{FF2B5EF4-FFF2-40B4-BE49-F238E27FC236}">
                  <a16:creationId xmlns:a16="http://schemas.microsoft.com/office/drawing/2014/main" id="{FA97D08C-9744-49E5-A4EB-C6C631F8D1DD}"/>
                </a:ext>
              </a:extLst>
            </p:cNvPr>
            <p:cNvSpPr txBox="1"/>
            <p:nvPr/>
          </p:nvSpPr>
          <p:spPr bwMode="auto">
            <a:xfrm>
              <a:off x="2155703" y="2891376"/>
              <a:ext cx="9983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chemeClr val="tx1"/>
                  </a:solidFill>
                  <a:latin typeface="+mn-lt"/>
                  <a:ea typeface="+mn-ea"/>
                </a:rPr>
                <a:t>UK Contingent Workers </a:t>
              </a:r>
            </a:p>
          </p:txBody>
        </p:sp>
        <p:pic>
          <p:nvPicPr>
            <p:cNvPr id="17" name="Graphic 16" descr="Group">
              <a:extLst>
                <a:ext uri="{FF2B5EF4-FFF2-40B4-BE49-F238E27FC236}">
                  <a16:creationId xmlns:a16="http://schemas.microsoft.com/office/drawing/2014/main" id="{95E33A98-911F-4E86-9560-82FF2CCE00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54270" y="1980832"/>
              <a:ext cx="863146" cy="864963"/>
            </a:xfrm>
            <a:prstGeom prst="rect">
              <a:avLst/>
            </a:prstGeom>
          </p:spPr>
        </p:pic>
        <p:sp>
          <p:nvSpPr>
            <p:cNvPr id="18" name="TextBox 17">
              <a:extLst>
                <a:ext uri="{FF2B5EF4-FFF2-40B4-BE49-F238E27FC236}">
                  <a16:creationId xmlns:a16="http://schemas.microsoft.com/office/drawing/2014/main" id="{3F0161EC-E41B-401D-8238-DFE9CDF9FE2B}"/>
                </a:ext>
              </a:extLst>
            </p:cNvPr>
            <p:cNvSpPr txBox="1"/>
            <p:nvPr/>
          </p:nvSpPr>
          <p:spPr bwMode="auto">
            <a:xfrm>
              <a:off x="4024082" y="2940479"/>
              <a:ext cx="387367" cy="17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1200" kern="0"/>
                <a:t>MSPs</a:t>
              </a:r>
              <a:endParaRPr lang="en-GB" sz="1200" b="0" kern="0">
                <a:solidFill>
                  <a:schemeClr val="tx1"/>
                </a:solidFill>
                <a:latin typeface="+mn-lt"/>
                <a:ea typeface="+mn-ea"/>
              </a:endParaRPr>
            </a:p>
          </p:txBody>
        </p:sp>
        <p:cxnSp>
          <p:nvCxnSpPr>
            <p:cNvPr id="38" name="Straight Connector 37">
              <a:extLst>
                <a:ext uri="{FF2B5EF4-FFF2-40B4-BE49-F238E27FC236}">
                  <a16:creationId xmlns:a16="http://schemas.microsoft.com/office/drawing/2014/main" id="{7C0EB70B-6930-445F-B586-F5F1A5DC6067}"/>
                </a:ext>
              </a:extLst>
            </p:cNvPr>
            <p:cNvCxnSpPr>
              <a:stCxn id="7" idx="3"/>
              <a:endCxn id="26" idx="0"/>
            </p:cNvCxnSpPr>
            <p:nvPr/>
          </p:nvCxnSpPr>
          <p:spPr bwMode="auto">
            <a:xfrm>
              <a:off x="1225944" y="3834970"/>
              <a:ext cx="860853" cy="76813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40">
              <a:extLst>
                <a:ext uri="{FF2B5EF4-FFF2-40B4-BE49-F238E27FC236}">
                  <a16:creationId xmlns:a16="http://schemas.microsoft.com/office/drawing/2014/main" id="{9A978C3B-D061-40FB-8116-9403777E4EF6}"/>
                </a:ext>
              </a:extLst>
            </p:cNvPr>
            <p:cNvCxnSpPr>
              <a:stCxn id="22" idx="1"/>
              <a:endCxn id="26" idx="0"/>
            </p:cNvCxnSpPr>
            <p:nvPr/>
          </p:nvCxnSpPr>
          <p:spPr bwMode="auto">
            <a:xfrm flipH="1">
              <a:off x="2086797" y="4258859"/>
              <a:ext cx="596327" cy="34424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9DB6647F-8EF8-4885-82D3-8576E4BF452F}"/>
                </a:ext>
              </a:extLst>
            </p:cNvPr>
            <p:cNvCxnSpPr>
              <a:cxnSpLocks/>
              <a:stCxn id="4" idx="2"/>
              <a:endCxn id="22" idx="0"/>
            </p:cNvCxnSpPr>
            <p:nvPr/>
          </p:nvCxnSpPr>
          <p:spPr bwMode="auto">
            <a:xfrm>
              <a:off x="2394201" y="3822607"/>
              <a:ext cx="472918" cy="25186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a:extLst>
                <a:ext uri="{FF2B5EF4-FFF2-40B4-BE49-F238E27FC236}">
                  <a16:creationId xmlns:a16="http://schemas.microsoft.com/office/drawing/2014/main" id="{726F6EF7-24EC-4713-83EA-E4A1BEAE7EB3}"/>
                </a:ext>
              </a:extLst>
            </p:cNvPr>
            <p:cNvCxnSpPr>
              <a:cxnSpLocks/>
              <a:stCxn id="11" idx="3"/>
              <a:endCxn id="28" idx="0"/>
            </p:cNvCxnSpPr>
            <p:nvPr/>
          </p:nvCxnSpPr>
          <p:spPr bwMode="auto">
            <a:xfrm flipH="1">
              <a:off x="2846340" y="3834971"/>
              <a:ext cx="1150464" cy="108122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a:extLst>
                <a:ext uri="{FF2B5EF4-FFF2-40B4-BE49-F238E27FC236}">
                  <a16:creationId xmlns:a16="http://schemas.microsoft.com/office/drawing/2014/main" id="{99D8C763-55FD-4D01-AD8B-B337C25940B9}"/>
                </a:ext>
              </a:extLst>
            </p:cNvPr>
            <p:cNvCxnSpPr>
              <a:stCxn id="7" idx="3"/>
              <a:endCxn id="36" idx="0"/>
            </p:cNvCxnSpPr>
            <p:nvPr/>
          </p:nvCxnSpPr>
          <p:spPr bwMode="auto">
            <a:xfrm flipH="1">
              <a:off x="1194277" y="3834970"/>
              <a:ext cx="31667" cy="127906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C4560087-C750-4BFC-BCDB-75D004E7EA8F}"/>
                </a:ext>
              </a:extLst>
            </p:cNvPr>
            <p:cNvCxnSpPr>
              <a:stCxn id="7" idx="3"/>
              <a:endCxn id="35" idx="0"/>
            </p:cNvCxnSpPr>
            <p:nvPr/>
          </p:nvCxnSpPr>
          <p:spPr bwMode="auto">
            <a:xfrm flipH="1">
              <a:off x="889503" y="3834970"/>
              <a:ext cx="336441" cy="62327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a:extLst>
                <a:ext uri="{FF2B5EF4-FFF2-40B4-BE49-F238E27FC236}">
                  <a16:creationId xmlns:a16="http://schemas.microsoft.com/office/drawing/2014/main" id="{3EE15C2D-9AAF-47D9-8AC3-2459D84E63E3}"/>
                </a:ext>
              </a:extLst>
            </p:cNvPr>
            <p:cNvCxnSpPr>
              <a:stCxn id="7" idx="3"/>
              <a:endCxn id="20" idx="0"/>
            </p:cNvCxnSpPr>
            <p:nvPr/>
          </p:nvCxnSpPr>
          <p:spPr bwMode="auto">
            <a:xfrm>
              <a:off x="1225944" y="3834970"/>
              <a:ext cx="166687" cy="77166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85A3428F-302B-41C4-B1C3-9D6ADAB97124}"/>
                </a:ext>
              </a:extLst>
            </p:cNvPr>
            <p:cNvCxnSpPr>
              <a:stCxn id="7" idx="3"/>
              <a:endCxn id="34" idx="1"/>
            </p:cNvCxnSpPr>
            <p:nvPr/>
          </p:nvCxnSpPr>
          <p:spPr bwMode="auto">
            <a:xfrm>
              <a:off x="1225945" y="3834971"/>
              <a:ext cx="2119690" cy="102610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 name="Graphic 19" descr="Paper">
              <a:extLst>
                <a:ext uri="{FF2B5EF4-FFF2-40B4-BE49-F238E27FC236}">
                  <a16:creationId xmlns:a16="http://schemas.microsoft.com/office/drawing/2014/main" id="{EF3FE2D7-DDD5-48DB-BDCA-E20FE6127BD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8635" y="4606633"/>
              <a:ext cx="367991" cy="368766"/>
            </a:xfrm>
            <a:prstGeom prst="rect">
              <a:avLst/>
            </a:prstGeom>
          </p:spPr>
        </p:pic>
        <p:pic>
          <p:nvPicPr>
            <p:cNvPr id="22" name="Graphic 21" descr="Document">
              <a:extLst>
                <a:ext uri="{FF2B5EF4-FFF2-40B4-BE49-F238E27FC236}">
                  <a16:creationId xmlns:a16="http://schemas.microsoft.com/office/drawing/2014/main" id="{7DFEB34F-E7F9-4B1F-8FF9-F26386A6516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83124" y="4074476"/>
              <a:ext cx="367991" cy="368766"/>
            </a:xfrm>
            <a:prstGeom prst="rect">
              <a:avLst/>
            </a:prstGeom>
          </p:spPr>
        </p:pic>
        <p:pic>
          <p:nvPicPr>
            <p:cNvPr id="24" name="Graphic 23" descr="Bar chart RTL">
              <a:extLst>
                <a:ext uri="{FF2B5EF4-FFF2-40B4-BE49-F238E27FC236}">
                  <a16:creationId xmlns:a16="http://schemas.microsoft.com/office/drawing/2014/main" id="{5D39F020-9AD7-47C0-8A45-8B0AF5387F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57875" y="5174721"/>
              <a:ext cx="367991" cy="368766"/>
            </a:xfrm>
            <a:prstGeom prst="rect">
              <a:avLst/>
            </a:prstGeom>
          </p:spPr>
        </p:pic>
        <p:pic>
          <p:nvPicPr>
            <p:cNvPr id="26" name="Graphic 25" descr="Statistics">
              <a:extLst>
                <a:ext uri="{FF2B5EF4-FFF2-40B4-BE49-F238E27FC236}">
                  <a16:creationId xmlns:a16="http://schemas.microsoft.com/office/drawing/2014/main" id="{8DBA4AF2-7F1B-4EC1-BD50-EDD6AB422AD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02801" y="4603103"/>
              <a:ext cx="367991" cy="368766"/>
            </a:xfrm>
            <a:prstGeom prst="rect">
              <a:avLst/>
            </a:prstGeom>
          </p:spPr>
        </p:pic>
        <p:pic>
          <p:nvPicPr>
            <p:cNvPr id="28" name="Graphic 27" descr="Pie chart">
              <a:extLst>
                <a:ext uri="{FF2B5EF4-FFF2-40B4-BE49-F238E27FC236}">
                  <a16:creationId xmlns:a16="http://schemas.microsoft.com/office/drawing/2014/main" id="{3489CF86-8A6C-4A8D-AEBB-386C04AF999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62344" y="4916197"/>
              <a:ext cx="367991" cy="368766"/>
            </a:xfrm>
            <a:prstGeom prst="rect">
              <a:avLst/>
            </a:prstGeom>
          </p:spPr>
        </p:pic>
        <p:pic>
          <p:nvPicPr>
            <p:cNvPr id="30" name="Graphic 29" descr="Venn diagram">
              <a:extLst>
                <a:ext uri="{FF2B5EF4-FFF2-40B4-BE49-F238E27FC236}">
                  <a16:creationId xmlns:a16="http://schemas.microsoft.com/office/drawing/2014/main" id="{B28C9EE7-E1F9-4423-AE6C-26ABCF0FBCF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09402" y="5045458"/>
              <a:ext cx="367991" cy="368766"/>
            </a:xfrm>
            <a:prstGeom prst="rect">
              <a:avLst/>
            </a:prstGeom>
          </p:spPr>
        </p:pic>
        <p:pic>
          <p:nvPicPr>
            <p:cNvPr id="31" name="Graphic 30" descr="Paper">
              <a:extLst>
                <a:ext uri="{FF2B5EF4-FFF2-40B4-BE49-F238E27FC236}">
                  <a16:creationId xmlns:a16="http://schemas.microsoft.com/office/drawing/2014/main" id="{511157CD-C0A5-4379-8F39-1484F808CA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1752" y="4261973"/>
              <a:ext cx="367991" cy="368766"/>
            </a:xfrm>
            <a:prstGeom prst="rect">
              <a:avLst/>
            </a:prstGeom>
          </p:spPr>
        </p:pic>
        <p:pic>
          <p:nvPicPr>
            <p:cNvPr id="32" name="Graphic 31" descr="Document">
              <a:extLst>
                <a:ext uri="{FF2B5EF4-FFF2-40B4-BE49-F238E27FC236}">
                  <a16:creationId xmlns:a16="http://schemas.microsoft.com/office/drawing/2014/main" id="{FBBBB2EC-B976-4A4D-BFA0-3F830B3325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05470" y="5248861"/>
              <a:ext cx="367991" cy="368766"/>
            </a:xfrm>
            <a:prstGeom prst="rect">
              <a:avLst/>
            </a:prstGeom>
          </p:spPr>
        </p:pic>
        <p:pic>
          <p:nvPicPr>
            <p:cNvPr id="33" name="Graphic 32" descr="Bar chart RTL">
              <a:extLst>
                <a:ext uri="{FF2B5EF4-FFF2-40B4-BE49-F238E27FC236}">
                  <a16:creationId xmlns:a16="http://schemas.microsoft.com/office/drawing/2014/main" id="{4C31B69E-DED8-4EB7-B15C-C289A8B3D05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88470" y="4826812"/>
              <a:ext cx="367991" cy="368766"/>
            </a:xfrm>
            <a:prstGeom prst="rect">
              <a:avLst/>
            </a:prstGeom>
          </p:spPr>
        </p:pic>
        <p:pic>
          <p:nvPicPr>
            <p:cNvPr id="34" name="Graphic 33" descr="Statistics">
              <a:extLst>
                <a:ext uri="{FF2B5EF4-FFF2-40B4-BE49-F238E27FC236}">
                  <a16:creationId xmlns:a16="http://schemas.microsoft.com/office/drawing/2014/main" id="{74A55E36-7953-4B5D-9438-9BA3D943398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45635" y="4676692"/>
              <a:ext cx="367991" cy="368766"/>
            </a:xfrm>
            <a:prstGeom prst="rect">
              <a:avLst/>
            </a:prstGeom>
          </p:spPr>
        </p:pic>
        <p:pic>
          <p:nvPicPr>
            <p:cNvPr id="35" name="Graphic 34" descr="Pie chart">
              <a:extLst>
                <a:ext uri="{FF2B5EF4-FFF2-40B4-BE49-F238E27FC236}">
                  <a16:creationId xmlns:a16="http://schemas.microsoft.com/office/drawing/2014/main" id="{682F0EBD-EC5E-491F-B236-AC579934063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5507" y="4458246"/>
              <a:ext cx="367991" cy="368766"/>
            </a:xfrm>
            <a:prstGeom prst="rect">
              <a:avLst/>
            </a:prstGeom>
          </p:spPr>
        </p:pic>
        <p:pic>
          <p:nvPicPr>
            <p:cNvPr id="36" name="Graphic 35" descr="Venn diagram">
              <a:extLst>
                <a:ext uri="{FF2B5EF4-FFF2-40B4-BE49-F238E27FC236}">
                  <a16:creationId xmlns:a16="http://schemas.microsoft.com/office/drawing/2014/main" id="{5849FCC3-DB68-4719-A1A7-965CAC38123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0281" y="5114038"/>
              <a:ext cx="367991" cy="368766"/>
            </a:xfrm>
            <a:prstGeom prst="rect">
              <a:avLst/>
            </a:prstGeom>
          </p:spPr>
        </p:pic>
        <p:cxnSp>
          <p:nvCxnSpPr>
            <p:cNvPr id="138" name="Straight Connector 137">
              <a:extLst>
                <a:ext uri="{FF2B5EF4-FFF2-40B4-BE49-F238E27FC236}">
                  <a16:creationId xmlns:a16="http://schemas.microsoft.com/office/drawing/2014/main" id="{42F5D30E-B8B4-445A-941C-BB24B2AA4D38}"/>
                </a:ext>
              </a:extLst>
            </p:cNvPr>
            <p:cNvCxnSpPr>
              <a:stCxn id="28" idx="3"/>
              <a:endCxn id="32" idx="0"/>
            </p:cNvCxnSpPr>
            <p:nvPr/>
          </p:nvCxnSpPr>
          <p:spPr bwMode="auto">
            <a:xfrm>
              <a:off x="3030335" y="5100581"/>
              <a:ext cx="259131" cy="14828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1" name="Straight Connector 140">
              <a:extLst>
                <a:ext uri="{FF2B5EF4-FFF2-40B4-BE49-F238E27FC236}">
                  <a16:creationId xmlns:a16="http://schemas.microsoft.com/office/drawing/2014/main" id="{00F356F0-E54E-491F-B25B-412E81FF9365}"/>
                </a:ext>
              </a:extLst>
            </p:cNvPr>
            <p:cNvCxnSpPr>
              <a:stCxn id="34" idx="2"/>
              <a:endCxn id="30" idx="1"/>
            </p:cNvCxnSpPr>
            <p:nvPr/>
          </p:nvCxnSpPr>
          <p:spPr bwMode="auto">
            <a:xfrm>
              <a:off x="3529631" y="5045458"/>
              <a:ext cx="479771" cy="18438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Straight Connector 143">
              <a:extLst>
                <a:ext uri="{FF2B5EF4-FFF2-40B4-BE49-F238E27FC236}">
                  <a16:creationId xmlns:a16="http://schemas.microsoft.com/office/drawing/2014/main" id="{AD9D06BB-772C-40B6-9234-A1BF1FEF1B05}"/>
                </a:ext>
              </a:extLst>
            </p:cNvPr>
            <p:cNvCxnSpPr>
              <a:stCxn id="22" idx="3"/>
              <a:endCxn id="31" idx="0"/>
            </p:cNvCxnSpPr>
            <p:nvPr/>
          </p:nvCxnSpPr>
          <p:spPr bwMode="auto">
            <a:xfrm>
              <a:off x="3051116" y="4258859"/>
              <a:ext cx="1174632" cy="311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Straight Connector 146">
              <a:extLst>
                <a:ext uri="{FF2B5EF4-FFF2-40B4-BE49-F238E27FC236}">
                  <a16:creationId xmlns:a16="http://schemas.microsoft.com/office/drawing/2014/main" id="{3ACBC91E-D52E-4802-BD17-2A17E9256E2F}"/>
                </a:ext>
              </a:extLst>
            </p:cNvPr>
            <p:cNvCxnSpPr>
              <a:cxnSpLocks/>
              <a:stCxn id="11" idx="3"/>
              <a:endCxn id="31" idx="0"/>
            </p:cNvCxnSpPr>
            <p:nvPr/>
          </p:nvCxnSpPr>
          <p:spPr bwMode="auto">
            <a:xfrm>
              <a:off x="3996804" y="3834971"/>
              <a:ext cx="228944" cy="42700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Straight Connector 148">
              <a:extLst>
                <a:ext uri="{FF2B5EF4-FFF2-40B4-BE49-F238E27FC236}">
                  <a16:creationId xmlns:a16="http://schemas.microsoft.com/office/drawing/2014/main" id="{6E0D1F6B-61D0-41D0-A511-EFB8201843AB}"/>
                </a:ext>
              </a:extLst>
            </p:cNvPr>
            <p:cNvCxnSpPr>
              <a:cxnSpLocks/>
              <a:stCxn id="64" idx="3"/>
              <a:endCxn id="33" idx="0"/>
            </p:cNvCxnSpPr>
            <p:nvPr/>
          </p:nvCxnSpPr>
          <p:spPr bwMode="auto">
            <a:xfrm>
              <a:off x="4750969" y="3823924"/>
              <a:ext cx="221496" cy="100288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6" name="TextBox 155">
              <a:extLst>
                <a:ext uri="{FF2B5EF4-FFF2-40B4-BE49-F238E27FC236}">
                  <a16:creationId xmlns:a16="http://schemas.microsoft.com/office/drawing/2014/main" id="{5F98C2B9-4933-4A9F-AF14-2A042DAF916C}"/>
                </a:ext>
              </a:extLst>
            </p:cNvPr>
            <p:cNvSpPr txBox="1"/>
            <p:nvPr/>
          </p:nvSpPr>
          <p:spPr bwMode="auto">
            <a:xfrm>
              <a:off x="472780" y="1746815"/>
              <a:ext cx="485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1400" b="1" kern="0">
                  <a:solidFill>
                    <a:schemeClr val="accent1"/>
                  </a:solidFill>
                  <a:latin typeface="+mn-lt"/>
                  <a:ea typeface="+mn-ea"/>
                </a:rPr>
                <a:t>Multiple Data Repositories and Data Consumption Channels </a:t>
              </a:r>
            </a:p>
          </p:txBody>
        </p:sp>
        <p:sp>
          <p:nvSpPr>
            <p:cNvPr id="157" name="Rectangle 156">
              <a:extLst>
                <a:ext uri="{FF2B5EF4-FFF2-40B4-BE49-F238E27FC236}">
                  <a16:creationId xmlns:a16="http://schemas.microsoft.com/office/drawing/2014/main" id="{4D989F79-00DF-4B6A-8324-EC1775EB9DC5}"/>
                </a:ext>
              </a:extLst>
            </p:cNvPr>
            <p:cNvSpPr/>
            <p:nvPr/>
          </p:nvSpPr>
          <p:spPr bwMode="auto">
            <a:xfrm>
              <a:off x="430373" y="2002925"/>
              <a:ext cx="4833247" cy="3773024"/>
            </a:xfrm>
            <a:prstGeom prst="rect">
              <a:avLst/>
            </a:prstGeom>
            <a:no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grpSp>
      <p:grpSp>
        <p:nvGrpSpPr>
          <p:cNvPr id="179" name="Group 178">
            <a:extLst>
              <a:ext uri="{FF2B5EF4-FFF2-40B4-BE49-F238E27FC236}">
                <a16:creationId xmlns:a16="http://schemas.microsoft.com/office/drawing/2014/main" id="{5DDFDE56-145B-49B6-8580-7C48EE1237C4}"/>
              </a:ext>
            </a:extLst>
          </p:cNvPr>
          <p:cNvGrpSpPr/>
          <p:nvPr/>
        </p:nvGrpSpPr>
        <p:grpSpPr>
          <a:xfrm>
            <a:off x="6148556" y="1746815"/>
            <a:ext cx="5611644" cy="4029134"/>
            <a:chOff x="6148556" y="1746815"/>
            <a:chExt cx="5305145" cy="4029134"/>
          </a:xfrm>
        </p:grpSpPr>
        <p:sp>
          <p:nvSpPr>
            <p:cNvPr id="158" name="TextBox 157">
              <a:extLst>
                <a:ext uri="{FF2B5EF4-FFF2-40B4-BE49-F238E27FC236}">
                  <a16:creationId xmlns:a16="http://schemas.microsoft.com/office/drawing/2014/main" id="{98E1A3DB-0CF1-47BC-8AB2-ACBC788E1AAC}"/>
                </a:ext>
              </a:extLst>
            </p:cNvPr>
            <p:cNvSpPr txBox="1"/>
            <p:nvPr/>
          </p:nvSpPr>
          <p:spPr bwMode="auto">
            <a:xfrm>
              <a:off x="6148556" y="1746815"/>
              <a:ext cx="52277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400" b="1" kern="0">
                  <a:solidFill>
                    <a:schemeClr val="accent1"/>
                  </a:solidFill>
                  <a:latin typeface="+mn-lt"/>
                  <a:ea typeface="+mn-ea"/>
                </a:rPr>
                <a:t>No Golden Master Record</a:t>
              </a:r>
            </a:p>
          </p:txBody>
        </p:sp>
        <p:sp>
          <p:nvSpPr>
            <p:cNvPr id="159" name="Rectangle 158">
              <a:extLst>
                <a:ext uri="{FF2B5EF4-FFF2-40B4-BE49-F238E27FC236}">
                  <a16:creationId xmlns:a16="http://schemas.microsoft.com/office/drawing/2014/main" id="{B14D5FA7-CD67-4AD6-B3ED-4897D7BD0C5F}"/>
                </a:ext>
              </a:extLst>
            </p:cNvPr>
            <p:cNvSpPr/>
            <p:nvPr/>
          </p:nvSpPr>
          <p:spPr bwMode="auto">
            <a:xfrm>
              <a:off x="6148558" y="2002925"/>
              <a:ext cx="5305143" cy="3773024"/>
            </a:xfrm>
            <a:prstGeom prst="rect">
              <a:avLst/>
            </a:prstGeom>
            <a:no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grpSp>
      <p:sp>
        <p:nvSpPr>
          <p:cNvPr id="3" name="Rectangle 2">
            <a:extLst>
              <a:ext uri="{FF2B5EF4-FFF2-40B4-BE49-F238E27FC236}">
                <a16:creationId xmlns:a16="http://schemas.microsoft.com/office/drawing/2014/main" id="{7E5803AA-C9CD-4891-AD8A-91EF4AE348F8}"/>
              </a:ext>
            </a:extLst>
          </p:cNvPr>
          <p:cNvSpPr/>
          <p:nvPr/>
        </p:nvSpPr>
        <p:spPr>
          <a:xfrm>
            <a:off x="436853" y="5857064"/>
            <a:ext cx="5135157" cy="461665"/>
          </a:xfrm>
          <a:prstGeom prst="rect">
            <a:avLst/>
          </a:prstGeom>
          <a:solidFill>
            <a:srgbClr val="00148C"/>
          </a:solidFill>
        </p:spPr>
        <p:txBody>
          <a:bodyPr wrap="square">
            <a:spAutoFit/>
          </a:bodyPr>
          <a:lstStyle/>
          <a:p>
            <a:r>
              <a:rPr lang="en-GB" sz="1200" dirty="0">
                <a:solidFill>
                  <a:schemeClr val="bg1"/>
                </a:solidFill>
                <a:cs typeface="Arial"/>
              </a:rPr>
              <a:t>Consolidate master sources, remove manual processes and create consolidated data platform and reporting solutions </a:t>
            </a:r>
            <a:endParaRPr lang="en-GB" sz="1200" dirty="0">
              <a:solidFill>
                <a:schemeClr val="bg1"/>
              </a:solidFill>
            </a:endParaRPr>
          </a:p>
        </p:txBody>
      </p:sp>
      <p:sp>
        <p:nvSpPr>
          <p:cNvPr id="50" name="Rectangle 49">
            <a:extLst>
              <a:ext uri="{FF2B5EF4-FFF2-40B4-BE49-F238E27FC236}">
                <a16:creationId xmlns:a16="http://schemas.microsoft.com/office/drawing/2014/main" id="{887FB771-193A-4AE1-B36C-619F347E44CD}"/>
              </a:ext>
            </a:extLst>
          </p:cNvPr>
          <p:cNvSpPr/>
          <p:nvPr/>
        </p:nvSpPr>
        <p:spPr>
          <a:xfrm>
            <a:off x="6148557" y="5845331"/>
            <a:ext cx="5606590" cy="461665"/>
          </a:xfrm>
          <a:prstGeom prst="rect">
            <a:avLst/>
          </a:prstGeom>
          <a:solidFill>
            <a:srgbClr val="00148C"/>
          </a:solidFill>
        </p:spPr>
        <p:txBody>
          <a:bodyPr wrap="square">
            <a:spAutoFit/>
          </a:bodyPr>
          <a:lstStyle/>
          <a:p>
            <a:r>
              <a:rPr lang="en-US" sz="1200">
                <a:solidFill>
                  <a:schemeClr val="bg1"/>
                </a:solidFill>
                <a:cs typeface="Arial"/>
              </a:rPr>
              <a:t>Golden</a:t>
            </a:r>
            <a:r>
              <a:rPr lang="en-GB" sz="1200">
                <a:solidFill>
                  <a:schemeClr val="bg1"/>
                </a:solidFill>
                <a:cs typeface="Arial"/>
              </a:rPr>
              <a:t> master</a:t>
            </a:r>
            <a:r>
              <a:rPr lang="en-US" sz="1200">
                <a:solidFill>
                  <a:schemeClr val="bg1"/>
                </a:solidFill>
                <a:cs typeface="Arial"/>
              </a:rPr>
              <a:t> record definition fully implemented </a:t>
            </a:r>
            <a:r>
              <a:rPr lang="en-GB" sz="1200">
                <a:solidFill>
                  <a:schemeClr val="bg1"/>
                </a:solidFill>
                <a:cs typeface="Arial"/>
              </a:rPr>
              <a:t>improving data quality and minimizing reporting </a:t>
            </a:r>
            <a:r>
              <a:rPr lang="en-US" sz="1200">
                <a:solidFill>
                  <a:schemeClr val="bg1"/>
                </a:solidFill>
                <a:cs typeface="Arial"/>
              </a:rPr>
              <a:t>errors</a:t>
            </a:r>
            <a:endParaRPr lang="en-GB" sz="1200">
              <a:solidFill>
                <a:schemeClr val="bg1"/>
              </a:solidFill>
            </a:endParaRPr>
          </a:p>
        </p:txBody>
      </p:sp>
      <p:sp>
        <p:nvSpPr>
          <p:cNvPr id="64" name="Flowchart: Magnetic Disk 63">
            <a:extLst>
              <a:ext uri="{FF2B5EF4-FFF2-40B4-BE49-F238E27FC236}">
                <a16:creationId xmlns:a16="http://schemas.microsoft.com/office/drawing/2014/main" id="{49EBA943-3619-485D-8842-454C6B01F656}"/>
              </a:ext>
            </a:extLst>
          </p:cNvPr>
          <p:cNvSpPr/>
          <p:nvPr/>
        </p:nvSpPr>
        <p:spPr bwMode="auto">
          <a:xfrm>
            <a:off x="4610772" y="3355674"/>
            <a:ext cx="734602" cy="468250"/>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latin typeface="+mn-lt"/>
                <a:cs typeface="Arial"/>
              </a:rPr>
              <a:t>SAP ECC (US)</a:t>
            </a:r>
          </a:p>
        </p:txBody>
      </p:sp>
      <p:pic>
        <p:nvPicPr>
          <p:cNvPr id="4" name="Picture 3">
            <a:extLst>
              <a:ext uri="{FF2B5EF4-FFF2-40B4-BE49-F238E27FC236}">
                <a16:creationId xmlns:a16="http://schemas.microsoft.com/office/drawing/2014/main" id="{E058C0FC-F842-481D-A3C6-0178061B6838}"/>
              </a:ext>
            </a:extLst>
          </p:cNvPr>
          <p:cNvPicPr>
            <a:picLocks noChangeAspect="1"/>
          </p:cNvPicPr>
          <p:nvPr/>
        </p:nvPicPr>
        <p:blipFill>
          <a:blip r:embed="rId17"/>
          <a:stretch>
            <a:fillRect/>
          </a:stretch>
        </p:blipFill>
        <p:spPr>
          <a:xfrm>
            <a:off x="2263923" y="3354603"/>
            <a:ext cx="505890" cy="468004"/>
          </a:xfrm>
          <a:prstGeom prst="rect">
            <a:avLst/>
          </a:prstGeom>
        </p:spPr>
      </p:pic>
      <p:cxnSp>
        <p:nvCxnSpPr>
          <p:cNvPr id="53" name="Straight Connector 52">
            <a:extLst>
              <a:ext uri="{FF2B5EF4-FFF2-40B4-BE49-F238E27FC236}">
                <a16:creationId xmlns:a16="http://schemas.microsoft.com/office/drawing/2014/main" id="{A2B14BC9-B13D-41BF-90A9-5AACC9FEFC70}"/>
              </a:ext>
            </a:extLst>
          </p:cNvPr>
          <p:cNvCxnSpPr>
            <a:cxnSpLocks/>
            <a:endCxn id="4" idx="1"/>
          </p:cNvCxnSpPr>
          <p:nvPr/>
        </p:nvCxnSpPr>
        <p:spPr bwMode="auto">
          <a:xfrm flipV="1">
            <a:off x="1735802" y="3588605"/>
            <a:ext cx="528121" cy="671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Flowchart: Magnetic Disk 65">
            <a:extLst>
              <a:ext uri="{FF2B5EF4-FFF2-40B4-BE49-F238E27FC236}">
                <a16:creationId xmlns:a16="http://schemas.microsoft.com/office/drawing/2014/main" id="{34F5F909-3301-4FFD-A889-34400B468063}"/>
              </a:ext>
            </a:extLst>
          </p:cNvPr>
          <p:cNvSpPr/>
          <p:nvPr/>
        </p:nvSpPr>
        <p:spPr bwMode="auto">
          <a:xfrm>
            <a:off x="2815740" y="3343985"/>
            <a:ext cx="709606" cy="468250"/>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latin typeface="+mn-lt"/>
                <a:cs typeface="Arial"/>
              </a:rPr>
              <a:t>SAP ECC (UK)</a:t>
            </a:r>
          </a:p>
        </p:txBody>
      </p:sp>
      <p:cxnSp>
        <p:nvCxnSpPr>
          <p:cNvPr id="68" name="Straight Connector 67">
            <a:extLst>
              <a:ext uri="{FF2B5EF4-FFF2-40B4-BE49-F238E27FC236}">
                <a16:creationId xmlns:a16="http://schemas.microsoft.com/office/drawing/2014/main" id="{9A25CD39-87AA-441E-B22B-9440C87B3648}"/>
              </a:ext>
            </a:extLst>
          </p:cNvPr>
          <p:cNvCxnSpPr>
            <a:cxnSpLocks/>
            <a:stCxn id="66" idx="3"/>
          </p:cNvCxnSpPr>
          <p:nvPr/>
        </p:nvCxnSpPr>
        <p:spPr bwMode="auto">
          <a:xfrm flipH="1">
            <a:off x="3138527" y="3812235"/>
            <a:ext cx="32016" cy="30755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9" name="Picture 68">
            <a:extLst>
              <a:ext uri="{FF2B5EF4-FFF2-40B4-BE49-F238E27FC236}">
                <a16:creationId xmlns:a16="http://schemas.microsoft.com/office/drawing/2014/main" id="{774B0694-D466-4E6E-B4D8-8F7424B94602}"/>
              </a:ext>
            </a:extLst>
          </p:cNvPr>
          <p:cNvPicPr>
            <a:picLocks noChangeAspect="1"/>
          </p:cNvPicPr>
          <p:nvPr/>
        </p:nvPicPr>
        <p:blipFill>
          <a:blip r:embed="rId18"/>
          <a:stretch>
            <a:fillRect/>
          </a:stretch>
        </p:blipFill>
        <p:spPr>
          <a:xfrm>
            <a:off x="6279417" y="2574020"/>
            <a:ext cx="5324532" cy="3000911"/>
          </a:xfrm>
          <a:prstGeom prst="rect">
            <a:avLst/>
          </a:prstGeom>
        </p:spPr>
      </p:pic>
      <p:sp>
        <p:nvSpPr>
          <p:cNvPr id="71" name="Rectangle 70">
            <a:extLst>
              <a:ext uri="{FF2B5EF4-FFF2-40B4-BE49-F238E27FC236}">
                <a16:creationId xmlns:a16="http://schemas.microsoft.com/office/drawing/2014/main" id="{AC6C5FF9-0ABA-4552-B952-C6282F1E6267}"/>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
        <p:nvSpPr>
          <p:cNvPr id="55" name="Rectangle 54">
            <a:extLst>
              <a:ext uri="{FF2B5EF4-FFF2-40B4-BE49-F238E27FC236}">
                <a16:creationId xmlns:a16="http://schemas.microsoft.com/office/drawing/2014/main" id="{8963917B-ADFE-42B0-BBC5-1F771C195204}"/>
              </a:ext>
            </a:extLst>
          </p:cNvPr>
          <p:cNvSpPr/>
          <p:nvPr/>
        </p:nvSpPr>
        <p:spPr>
          <a:xfrm>
            <a:off x="101359" y="5574931"/>
            <a:ext cx="945142" cy="276999"/>
          </a:xfrm>
          <a:prstGeom prst="rect">
            <a:avLst/>
          </a:prstGeom>
          <a:solidFill>
            <a:srgbClr val="00148C"/>
          </a:solidFill>
        </p:spPr>
        <p:txBody>
          <a:bodyPr wrap="square">
            <a:spAutoFit/>
          </a:bodyPr>
          <a:lstStyle/>
          <a:p>
            <a:r>
              <a:rPr lang="en-GB" sz="1200" dirty="0">
                <a:solidFill>
                  <a:schemeClr val="bg1"/>
                </a:solidFill>
                <a:cs typeface="Arial"/>
              </a:rPr>
              <a:t>Solutions:</a:t>
            </a:r>
            <a:endParaRPr lang="en-GB" sz="1200" dirty="0">
              <a:solidFill>
                <a:schemeClr val="bg1"/>
              </a:solidFill>
            </a:endParaRPr>
          </a:p>
        </p:txBody>
      </p:sp>
    </p:spTree>
    <p:extLst>
      <p:ext uri="{BB962C8B-B14F-4D97-AF65-F5344CB8AC3E}">
        <p14:creationId xmlns:p14="http://schemas.microsoft.com/office/powerpoint/2010/main" val="4135496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5BFCB-E9C1-4307-B342-9F39692E355F}"/>
              </a:ext>
            </a:extLst>
          </p:cNvPr>
          <p:cNvSpPr>
            <a:spLocks noGrp="1"/>
          </p:cNvSpPr>
          <p:nvPr>
            <p:ph type="title"/>
          </p:nvPr>
        </p:nvSpPr>
        <p:spPr/>
        <p:txBody>
          <a:bodyPr/>
          <a:lstStyle/>
          <a:p>
            <a:r>
              <a:rPr lang="en-GB"/>
              <a:t>Data Quality Management</a:t>
            </a:r>
          </a:p>
        </p:txBody>
      </p:sp>
      <p:sp>
        <p:nvSpPr>
          <p:cNvPr id="6" name="Rectangle 5">
            <a:extLst>
              <a:ext uri="{FF2B5EF4-FFF2-40B4-BE49-F238E27FC236}">
                <a16:creationId xmlns:a16="http://schemas.microsoft.com/office/drawing/2014/main" id="{60CF4344-82A4-4E47-96F9-6F7705507E24}"/>
              </a:ext>
            </a:extLst>
          </p:cNvPr>
          <p:cNvSpPr/>
          <p:nvPr/>
        </p:nvSpPr>
        <p:spPr>
          <a:xfrm>
            <a:off x="430373" y="832929"/>
            <a:ext cx="11222504" cy="843821"/>
          </a:xfrm>
          <a:prstGeom prst="rect">
            <a:avLst/>
          </a:prstGeom>
        </p:spPr>
        <p:txBody>
          <a:bodyPr wrap="square">
            <a:spAutoFit/>
          </a:bodyPr>
          <a:lstStyle/>
          <a:p>
            <a:pPr>
              <a:spcAft>
                <a:spcPts val="133"/>
              </a:spcAft>
            </a:pPr>
            <a:r>
              <a:rPr lang="en-US" sz="1600">
                <a:solidFill>
                  <a:srgbClr val="00148C"/>
                </a:solidFill>
                <a:cs typeface="Arial"/>
              </a:rPr>
              <a:t>Progress has been made over the last 12 months in reporting and improving data quality; however some issues are still being resolved manually leading to lack of trust in the data and consequently perception of data issues</a:t>
            </a:r>
          </a:p>
          <a:p>
            <a:pPr lvl="1">
              <a:spcAft>
                <a:spcPts val="133"/>
              </a:spcAft>
            </a:pPr>
            <a:endParaRPr lang="en-US" sz="1600" b="1" u="sng">
              <a:solidFill>
                <a:srgbClr val="00148C"/>
              </a:solidFill>
              <a:cs typeface="Arial"/>
            </a:endParaRPr>
          </a:p>
        </p:txBody>
      </p:sp>
      <p:pic>
        <p:nvPicPr>
          <p:cNvPr id="7" name="Picture 6">
            <a:extLst>
              <a:ext uri="{FF2B5EF4-FFF2-40B4-BE49-F238E27FC236}">
                <a16:creationId xmlns:a16="http://schemas.microsoft.com/office/drawing/2014/main" id="{5A698004-932B-43D4-8E0D-8EBDA60D1E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6100" y="1664014"/>
            <a:ext cx="4935221" cy="2700000"/>
          </a:xfrm>
          <a:prstGeom prst="rect">
            <a:avLst/>
          </a:prstGeom>
          <a:ln>
            <a:solidFill>
              <a:schemeClr val="accent1"/>
            </a:solidFill>
          </a:ln>
        </p:spPr>
      </p:pic>
      <p:sp>
        <p:nvSpPr>
          <p:cNvPr id="8" name="Rectangle 7">
            <a:extLst>
              <a:ext uri="{FF2B5EF4-FFF2-40B4-BE49-F238E27FC236}">
                <a16:creationId xmlns:a16="http://schemas.microsoft.com/office/drawing/2014/main" id="{651F3BC0-C5AF-42AB-B14D-820CB7F75E5E}"/>
              </a:ext>
            </a:extLst>
          </p:cNvPr>
          <p:cNvSpPr/>
          <p:nvPr/>
        </p:nvSpPr>
        <p:spPr>
          <a:xfrm>
            <a:off x="6496100" y="4462993"/>
            <a:ext cx="4935221" cy="1015663"/>
          </a:xfrm>
          <a:prstGeom prst="rect">
            <a:avLst/>
          </a:prstGeom>
          <a:solidFill>
            <a:srgbClr val="00148C"/>
          </a:solidFill>
        </p:spPr>
        <p:txBody>
          <a:bodyPr wrap="square">
            <a:spAutoFit/>
          </a:bodyPr>
          <a:lstStyle/>
          <a:p>
            <a:r>
              <a:rPr lang="en-GB" sz="1200" dirty="0">
                <a:solidFill>
                  <a:schemeClr val="bg1"/>
                </a:solidFill>
              </a:rPr>
              <a:t>The Golden thread DQ completeness score and data alignment across various platforms for Worker focused on 5 data points; </a:t>
            </a:r>
          </a:p>
          <a:p>
            <a:pPr marL="171450" indent="-171450">
              <a:buFont typeface="Arial" panose="020B0604020202020204" pitchFamily="34" charset="0"/>
              <a:buChar char="•"/>
            </a:pPr>
            <a:r>
              <a:rPr lang="en-GB" sz="1200" dirty="0">
                <a:solidFill>
                  <a:schemeClr val="bg1"/>
                </a:solidFill>
              </a:rPr>
              <a:t>Worker id, Worker name, Status, Username, Email address</a:t>
            </a:r>
          </a:p>
          <a:p>
            <a:pPr marL="171450" indent="-171450">
              <a:buFont typeface="Arial" panose="020B0604020202020204" pitchFamily="34" charset="0"/>
              <a:buChar char="•"/>
            </a:pPr>
            <a:endParaRPr lang="en-GB" sz="1200" dirty="0">
              <a:solidFill>
                <a:schemeClr val="bg1"/>
              </a:solidFill>
            </a:endParaRPr>
          </a:p>
          <a:p>
            <a:r>
              <a:rPr lang="en-GB" sz="1200" dirty="0">
                <a:solidFill>
                  <a:schemeClr val="bg1"/>
                </a:solidFill>
              </a:rPr>
              <a:t>We now need to progress on the validity of the data within the fields</a:t>
            </a:r>
          </a:p>
        </p:txBody>
      </p:sp>
      <p:pic>
        <p:nvPicPr>
          <p:cNvPr id="10" name="Picture 9">
            <a:extLst>
              <a:ext uri="{FF2B5EF4-FFF2-40B4-BE49-F238E27FC236}">
                <a16:creationId xmlns:a16="http://schemas.microsoft.com/office/drawing/2014/main" id="{D57C3C58-E9E7-41F3-B0FB-EFE1136F10D1}"/>
              </a:ext>
            </a:extLst>
          </p:cNvPr>
          <p:cNvPicPr>
            <a:picLocks noChangeAspect="1"/>
          </p:cNvPicPr>
          <p:nvPr/>
        </p:nvPicPr>
        <p:blipFill rotWithShape="1">
          <a:blip r:embed="rId3">
            <a:extLst>
              <a:ext uri="{28A0092B-C50C-407E-A947-70E740481C1C}">
                <a14:useLocalDpi xmlns:a14="http://schemas.microsoft.com/office/drawing/2010/main" val="0"/>
              </a:ext>
            </a:extLst>
          </a:blip>
          <a:srcRect l="2762" t="8610"/>
          <a:stretch/>
        </p:blipFill>
        <p:spPr>
          <a:xfrm>
            <a:off x="637586" y="1676750"/>
            <a:ext cx="5121434" cy="2700000"/>
          </a:xfrm>
          <a:prstGeom prst="rect">
            <a:avLst/>
          </a:prstGeom>
          <a:ln>
            <a:solidFill>
              <a:schemeClr val="accent1"/>
            </a:solidFill>
          </a:ln>
        </p:spPr>
      </p:pic>
      <p:sp>
        <p:nvSpPr>
          <p:cNvPr id="11" name="Rectangle 10">
            <a:extLst>
              <a:ext uri="{FF2B5EF4-FFF2-40B4-BE49-F238E27FC236}">
                <a16:creationId xmlns:a16="http://schemas.microsoft.com/office/drawing/2014/main" id="{785910D9-8EB5-47E7-A6C4-896EE37C59E8}"/>
              </a:ext>
            </a:extLst>
          </p:cNvPr>
          <p:cNvSpPr/>
          <p:nvPr/>
        </p:nvSpPr>
        <p:spPr>
          <a:xfrm>
            <a:off x="637585" y="4465574"/>
            <a:ext cx="5121433" cy="1015663"/>
          </a:xfrm>
          <a:prstGeom prst="rect">
            <a:avLst/>
          </a:prstGeom>
          <a:solidFill>
            <a:srgbClr val="00148C"/>
          </a:solidFill>
        </p:spPr>
        <p:txBody>
          <a:bodyPr wrap="square">
            <a:spAutoFit/>
          </a:bodyPr>
          <a:lstStyle/>
          <a:p>
            <a:r>
              <a:rPr lang="en-GB" sz="1200" dirty="0">
                <a:solidFill>
                  <a:schemeClr val="bg1"/>
                </a:solidFill>
              </a:rPr>
              <a:t>An example of the UK Contractor DQ report – </a:t>
            </a:r>
            <a:r>
              <a:rPr lang="en-GB" sz="1200" dirty="0" err="1">
                <a:solidFill>
                  <a:schemeClr val="bg1"/>
                </a:solidFill>
              </a:rPr>
              <a:t>MyHub</a:t>
            </a:r>
            <a:r>
              <a:rPr lang="en-GB" sz="1200" dirty="0">
                <a:solidFill>
                  <a:schemeClr val="bg1"/>
                </a:solidFill>
              </a:rPr>
              <a:t> v Fieldglass</a:t>
            </a:r>
          </a:p>
          <a:p>
            <a:endParaRPr lang="en-GB" sz="1200" dirty="0">
              <a:solidFill>
                <a:schemeClr val="bg1"/>
              </a:solidFill>
            </a:endParaRPr>
          </a:p>
          <a:p>
            <a:pPr marL="171450" indent="-171450">
              <a:buFont typeface="Arial" panose="020B0604020202020204" pitchFamily="34" charset="0"/>
              <a:buChar char="•"/>
            </a:pPr>
            <a:r>
              <a:rPr lang="en-GB" sz="1200" dirty="0">
                <a:solidFill>
                  <a:schemeClr val="bg1"/>
                </a:solidFill>
              </a:rPr>
              <a:t>8.6% (58 Contactors) have inaccurate or misaligned cost centres</a:t>
            </a:r>
          </a:p>
          <a:p>
            <a:pPr marL="171450" indent="-171450">
              <a:buFont typeface="Arial" panose="020B0604020202020204" pitchFamily="34" charset="0"/>
              <a:buChar char="•"/>
            </a:pPr>
            <a:r>
              <a:rPr lang="en-GB" sz="1200" dirty="0">
                <a:solidFill>
                  <a:schemeClr val="bg1"/>
                </a:solidFill>
                <a:cs typeface="Arial"/>
              </a:rPr>
              <a:t>42.5% (286</a:t>
            </a:r>
            <a:r>
              <a:rPr lang="en-GB" sz="1200" dirty="0">
                <a:solidFill>
                  <a:schemeClr val="bg1"/>
                </a:solidFill>
              </a:rPr>
              <a:t> Contactors</a:t>
            </a:r>
            <a:r>
              <a:rPr lang="en-GB" sz="1200" dirty="0">
                <a:solidFill>
                  <a:schemeClr val="bg1"/>
                </a:solidFill>
                <a:cs typeface="Arial"/>
              </a:rPr>
              <a:t>) have inaccurate start and termination dates. 24.5% (164</a:t>
            </a:r>
            <a:r>
              <a:rPr lang="en-GB" sz="1200" dirty="0">
                <a:solidFill>
                  <a:schemeClr val="bg1"/>
                </a:solidFill>
              </a:rPr>
              <a:t> Contactors) have an invalid or missing Manager</a:t>
            </a:r>
          </a:p>
        </p:txBody>
      </p:sp>
      <p:sp>
        <p:nvSpPr>
          <p:cNvPr id="13" name="Rectangle 12">
            <a:extLst>
              <a:ext uri="{FF2B5EF4-FFF2-40B4-BE49-F238E27FC236}">
                <a16:creationId xmlns:a16="http://schemas.microsoft.com/office/drawing/2014/main" id="{5A8E194B-38B0-4881-9C75-BAAD46B86DF7}"/>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
        <p:nvSpPr>
          <p:cNvPr id="12" name="Rectangle 11">
            <a:extLst>
              <a:ext uri="{FF2B5EF4-FFF2-40B4-BE49-F238E27FC236}">
                <a16:creationId xmlns:a16="http://schemas.microsoft.com/office/drawing/2014/main" id="{774F4560-0DBB-440F-830C-66B4BD3CCB90}"/>
              </a:ext>
            </a:extLst>
          </p:cNvPr>
          <p:cNvSpPr/>
          <p:nvPr/>
        </p:nvSpPr>
        <p:spPr>
          <a:xfrm>
            <a:off x="623861" y="5794238"/>
            <a:ext cx="10807460" cy="276999"/>
          </a:xfrm>
          <a:prstGeom prst="rect">
            <a:avLst/>
          </a:prstGeom>
          <a:solidFill>
            <a:srgbClr val="00148C"/>
          </a:solidFill>
        </p:spPr>
        <p:txBody>
          <a:bodyPr wrap="square">
            <a:spAutoFit/>
          </a:bodyPr>
          <a:lstStyle/>
          <a:p>
            <a:r>
              <a:rPr lang="en-GB" sz="1200" dirty="0">
                <a:solidFill>
                  <a:schemeClr val="bg1"/>
                </a:solidFill>
                <a:cs typeface="Arial"/>
              </a:rPr>
              <a:t>Workforce Data Domain project will; catalogue data and apply quality thresholds, introduce comprehensive quality reporting and ongoing data governance</a:t>
            </a:r>
            <a:endParaRPr lang="en-GB" sz="1200" dirty="0">
              <a:solidFill>
                <a:schemeClr val="bg1"/>
              </a:solidFill>
            </a:endParaRPr>
          </a:p>
        </p:txBody>
      </p:sp>
      <p:sp>
        <p:nvSpPr>
          <p:cNvPr id="15" name="Rectangle 14">
            <a:extLst>
              <a:ext uri="{FF2B5EF4-FFF2-40B4-BE49-F238E27FC236}">
                <a16:creationId xmlns:a16="http://schemas.microsoft.com/office/drawing/2014/main" id="{FBCD332F-7D75-4305-A747-41981E747E81}"/>
              </a:ext>
            </a:extLst>
          </p:cNvPr>
          <p:cNvSpPr/>
          <p:nvPr/>
        </p:nvSpPr>
        <p:spPr>
          <a:xfrm>
            <a:off x="288367" y="5512105"/>
            <a:ext cx="945142" cy="276999"/>
          </a:xfrm>
          <a:prstGeom prst="rect">
            <a:avLst/>
          </a:prstGeom>
          <a:solidFill>
            <a:srgbClr val="00148C"/>
          </a:solidFill>
        </p:spPr>
        <p:txBody>
          <a:bodyPr wrap="square">
            <a:spAutoFit/>
          </a:bodyPr>
          <a:lstStyle/>
          <a:p>
            <a:r>
              <a:rPr lang="en-GB" sz="1200" dirty="0">
                <a:solidFill>
                  <a:schemeClr val="bg1"/>
                </a:solidFill>
                <a:cs typeface="Arial"/>
              </a:rPr>
              <a:t>Solutions:</a:t>
            </a:r>
            <a:endParaRPr lang="en-GB" sz="1200" dirty="0">
              <a:solidFill>
                <a:schemeClr val="bg1"/>
              </a:solidFill>
            </a:endParaRPr>
          </a:p>
        </p:txBody>
      </p:sp>
    </p:spTree>
    <p:extLst>
      <p:ext uri="{BB962C8B-B14F-4D97-AF65-F5344CB8AC3E}">
        <p14:creationId xmlns:p14="http://schemas.microsoft.com/office/powerpoint/2010/main" val="1208402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5BFCB-E9C1-4307-B342-9F39692E355F}"/>
              </a:ext>
            </a:extLst>
          </p:cNvPr>
          <p:cNvSpPr>
            <a:spLocks noGrp="1"/>
          </p:cNvSpPr>
          <p:nvPr>
            <p:ph type="title"/>
          </p:nvPr>
        </p:nvSpPr>
        <p:spPr/>
        <p:txBody>
          <a:bodyPr/>
          <a:lstStyle/>
          <a:p>
            <a:r>
              <a:rPr lang="en-US">
                <a:solidFill>
                  <a:srgbClr val="00148C"/>
                </a:solidFill>
                <a:cs typeface="Arial"/>
              </a:rPr>
              <a:t>HR versus Finance Headcount Differences</a:t>
            </a:r>
            <a:endParaRPr lang="en-GB"/>
          </a:p>
        </p:txBody>
      </p:sp>
      <p:sp>
        <p:nvSpPr>
          <p:cNvPr id="6" name="Rectangle 5">
            <a:extLst>
              <a:ext uri="{FF2B5EF4-FFF2-40B4-BE49-F238E27FC236}">
                <a16:creationId xmlns:a16="http://schemas.microsoft.com/office/drawing/2014/main" id="{70A4C3C7-15E2-49A9-A949-FCFA7DF47E99}"/>
              </a:ext>
            </a:extLst>
          </p:cNvPr>
          <p:cNvSpPr/>
          <p:nvPr/>
        </p:nvSpPr>
        <p:spPr>
          <a:xfrm>
            <a:off x="430373" y="832929"/>
            <a:ext cx="11222504" cy="843821"/>
          </a:xfrm>
          <a:prstGeom prst="rect">
            <a:avLst/>
          </a:prstGeom>
        </p:spPr>
        <p:txBody>
          <a:bodyPr wrap="square">
            <a:spAutoFit/>
          </a:bodyPr>
          <a:lstStyle/>
          <a:p>
            <a:pPr>
              <a:spcAft>
                <a:spcPts val="133"/>
              </a:spcAft>
            </a:pPr>
            <a:r>
              <a:rPr lang="en-US" sz="1600" dirty="0">
                <a:solidFill>
                  <a:srgbClr val="00148C"/>
                </a:solidFill>
                <a:cs typeface="Arial"/>
              </a:rPr>
              <a:t>Today business users complain our total workforce numbers do not align between our HR and Finance systems and find it hard to report on them</a:t>
            </a:r>
          </a:p>
          <a:p>
            <a:pPr lvl="1">
              <a:spcAft>
                <a:spcPts val="133"/>
              </a:spcAft>
            </a:pPr>
            <a:endParaRPr lang="en-US" sz="1600" b="1" u="sng" dirty="0">
              <a:solidFill>
                <a:srgbClr val="00148C"/>
              </a:solidFill>
              <a:cs typeface="Arial"/>
            </a:endParaRPr>
          </a:p>
        </p:txBody>
      </p:sp>
      <p:sp>
        <p:nvSpPr>
          <p:cNvPr id="12" name="Rectangle 11">
            <a:extLst>
              <a:ext uri="{FF2B5EF4-FFF2-40B4-BE49-F238E27FC236}">
                <a16:creationId xmlns:a16="http://schemas.microsoft.com/office/drawing/2014/main" id="{6C680E7F-3871-4AEB-9C11-7CDF8FFE0191}"/>
              </a:ext>
            </a:extLst>
          </p:cNvPr>
          <p:cNvSpPr/>
          <p:nvPr/>
        </p:nvSpPr>
        <p:spPr>
          <a:xfrm>
            <a:off x="510906" y="1464195"/>
            <a:ext cx="6337546" cy="2108269"/>
          </a:xfrm>
          <a:prstGeom prst="rect">
            <a:avLst/>
          </a:prstGeom>
          <a:solidFill>
            <a:srgbClr val="00148C"/>
          </a:solidFill>
        </p:spPr>
        <p:txBody>
          <a:bodyPr wrap="square">
            <a:spAutoFit/>
          </a:bodyPr>
          <a:lstStyle/>
          <a:p>
            <a:pPr>
              <a:spcAft>
                <a:spcPts val="133"/>
              </a:spcAft>
            </a:pPr>
            <a:r>
              <a:rPr lang="en-US" sz="1600" b="1" dirty="0">
                <a:solidFill>
                  <a:schemeClr val="bg1"/>
                </a:solidFill>
                <a:cs typeface="Arial"/>
              </a:rPr>
              <a:t>We have an absence of agreed common definitions, </a:t>
            </a:r>
            <a:r>
              <a:rPr lang="en-US" sz="1600" b="1" dirty="0" err="1">
                <a:solidFill>
                  <a:schemeClr val="bg1"/>
                </a:solidFill>
                <a:cs typeface="Arial"/>
              </a:rPr>
              <a:t>ie</a:t>
            </a:r>
            <a:r>
              <a:rPr lang="en-US" sz="1600" b="1" dirty="0">
                <a:solidFill>
                  <a:schemeClr val="bg1"/>
                </a:solidFill>
                <a:cs typeface="Arial"/>
              </a:rPr>
              <a:t>:</a:t>
            </a:r>
          </a:p>
          <a:p>
            <a:pPr>
              <a:spcAft>
                <a:spcPts val="133"/>
              </a:spcAft>
            </a:pPr>
            <a:endParaRPr lang="en-US" sz="1200" b="1" dirty="0">
              <a:solidFill>
                <a:schemeClr val="bg1"/>
              </a:solidFill>
              <a:cs typeface="Arial"/>
            </a:endParaRPr>
          </a:p>
          <a:p>
            <a:pPr>
              <a:spcAft>
                <a:spcPts val="133"/>
              </a:spcAft>
            </a:pPr>
            <a:r>
              <a:rPr lang="en-US" sz="1200" b="1" dirty="0">
                <a:solidFill>
                  <a:schemeClr val="bg1"/>
                </a:solidFill>
                <a:cs typeface="Arial"/>
              </a:rPr>
              <a:t>Head count</a:t>
            </a:r>
          </a:p>
          <a:p>
            <a:pPr>
              <a:spcAft>
                <a:spcPts val="133"/>
              </a:spcAft>
            </a:pPr>
            <a:r>
              <a:rPr lang="en-GB" sz="1200" dirty="0">
                <a:solidFill>
                  <a:schemeClr val="bg1"/>
                </a:solidFill>
                <a:cs typeface="Arial"/>
              </a:rPr>
              <a:t>“Count of the number of people who work in the organization at a particular point in time; including employees and contractors but not managed service providers”</a:t>
            </a:r>
          </a:p>
          <a:p>
            <a:pPr>
              <a:spcAft>
                <a:spcPts val="133"/>
              </a:spcAft>
            </a:pPr>
            <a:endParaRPr lang="en-US" sz="1200" b="1" dirty="0">
              <a:solidFill>
                <a:schemeClr val="bg1"/>
              </a:solidFill>
              <a:cs typeface="Arial"/>
            </a:endParaRPr>
          </a:p>
          <a:p>
            <a:pPr>
              <a:spcAft>
                <a:spcPts val="133"/>
              </a:spcAft>
            </a:pPr>
            <a:r>
              <a:rPr lang="en-US" sz="1200" b="1" dirty="0">
                <a:solidFill>
                  <a:schemeClr val="bg1"/>
                </a:solidFill>
                <a:cs typeface="Arial"/>
              </a:rPr>
              <a:t>FTE – Full time equivalent</a:t>
            </a:r>
          </a:p>
          <a:p>
            <a:pPr>
              <a:spcAft>
                <a:spcPts val="133"/>
              </a:spcAft>
            </a:pPr>
            <a:r>
              <a:rPr lang="en-GB" sz="1200" dirty="0">
                <a:solidFill>
                  <a:schemeClr val="bg1"/>
                </a:solidFill>
                <a:cs typeface="Arial"/>
              </a:rPr>
              <a:t>“Refers to a unit of measurement based on the total number of hours worked that shows how many full-time equivalent employees in the organization at a particular point in time; across employees, contractors and some managed service providers”</a:t>
            </a:r>
            <a:endParaRPr lang="en-US" sz="1200" dirty="0">
              <a:solidFill>
                <a:schemeClr val="bg1"/>
              </a:solidFill>
              <a:cs typeface="Arial"/>
            </a:endParaRPr>
          </a:p>
        </p:txBody>
      </p:sp>
      <p:sp>
        <p:nvSpPr>
          <p:cNvPr id="22" name="Rectangle 21">
            <a:extLst>
              <a:ext uri="{FF2B5EF4-FFF2-40B4-BE49-F238E27FC236}">
                <a16:creationId xmlns:a16="http://schemas.microsoft.com/office/drawing/2014/main" id="{7C1BFD13-3F10-462C-A20D-CA3296F773D6}"/>
              </a:ext>
            </a:extLst>
          </p:cNvPr>
          <p:cNvSpPr/>
          <p:nvPr/>
        </p:nvSpPr>
        <p:spPr>
          <a:xfrm>
            <a:off x="513357" y="3686435"/>
            <a:ext cx="6335018" cy="1738938"/>
          </a:xfrm>
          <a:prstGeom prst="rect">
            <a:avLst/>
          </a:prstGeom>
          <a:ln>
            <a:solidFill>
              <a:schemeClr val="accent1"/>
            </a:solidFill>
          </a:ln>
        </p:spPr>
        <p:txBody>
          <a:bodyPr wrap="square">
            <a:spAutoFit/>
          </a:bodyPr>
          <a:lstStyle/>
          <a:p>
            <a:pPr>
              <a:spcAft>
                <a:spcPts val="133"/>
              </a:spcAft>
            </a:pPr>
            <a:r>
              <a:rPr lang="en-US" sz="1600" b="1">
                <a:solidFill>
                  <a:srgbClr val="00148C"/>
                </a:solidFill>
                <a:cs typeface="Arial"/>
              </a:rPr>
              <a:t>Differences in how we manage heads / FTE not always known:</a:t>
            </a:r>
          </a:p>
          <a:p>
            <a:pPr>
              <a:spcAft>
                <a:spcPts val="133"/>
              </a:spcAft>
            </a:pPr>
            <a:endParaRPr lang="en-US" sz="1600" b="1">
              <a:solidFill>
                <a:srgbClr val="00148C"/>
              </a:solidFill>
              <a:cs typeface="Arial"/>
            </a:endParaRPr>
          </a:p>
          <a:p>
            <a:pPr marL="285750" indent="-285750">
              <a:spcAft>
                <a:spcPts val="133"/>
              </a:spcAft>
              <a:buFontTx/>
              <a:buChar char="-"/>
            </a:pPr>
            <a:r>
              <a:rPr lang="en-US" sz="1400" b="1">
                <a:solidFill>
                  <a:srgbClr val="00148C"/>
                </a:solidFill>
                <a:cs typeface="Arial"/>
              </a:rPr>
              <a:t>Timing </a:t>
            </a:r>
            <a:r>
              <a:rPr lang="en-US" sz="1400">
                <a:solidFill>
                  <a:srgbClr val="00148C"/>
                </a:solidFill>
                <a:cs typeface="Arial"/>
              </a:rPr>
              <a:t>; figures will vary based upon point in time they are taken</a:t>
            </a:r>
          </a:p>
          <a:p>
            <a:pPr marL="285750" indent="-285750">
              <a:spcAft>
                <a:spcPts val="133"/>
              </a:spcAft>
              <a:buFontTx/>
              <a:buChar char="-"/>
            </a:pPr>
            <a:r>
              <a:rPr lang="en-US" sz="1400" b="1">
                <a:solidFill>
                  <a:srgbClr val="00148C"/>
                </a:solidFill>
                <a:cs typeface="Arial"/>
              </a:rPr>
              <a:t>Process </a:t>
            </a:r>
            <a:r>
              <a:rPr lang="en-US" sz="1400">
                <a:solidFill>
                  <a:srgbClr val="00148C"/>
                </a:solidFill>
                <a:cs typeface="Arial"/>
              </a:rPr>
              <a:t>; </a:t>
            </a:r>
            <a:r>
              <a:rPr lang="en-US" sz="1400" err="1">
                <a:solidFill>
                  <a:srgbClr val="00148C"/>
                </a:solidFill>
                <a:cs typeface="Arial"/>
              </a:rPr>
              <a:t>centralised</a:t>
            </a:r>
            <a:r>
              <a:rPr lang="en-US" sz="1400">
                <a:solidFill>
                  <a:srgbClr val="00148C"/>
                </a:solidFill>
                <a:cs typeface="Arial"/>
              </a:rPr>
              <a:t> costs but organization aligned heads</a:t>
            </a:r>
          </a:p>
          <a:p>
            <a:pPr marL="285750" indent="-285750">
              <a:spcAft>
                <a:spcPts val="133"/>
              </a:spcAft>
              <a:buFontTx/>
              <a:buChar char="-"/>
            </a:pPr>
            <a:r>
              <a:rPr lang="en-US" sz="1400" b="1">
                <a:solidFill>
                  <a:srgbClr val="00148C"/>
                </a:solidFill>
                <a:cs typeface="Arial"/>
              </a:rPr>
              <a:t>Standards </a:t>
            </a:r>
            <a:r>
              <a:rPr lang="en-US" sz="1400">
                <a:solidFill>
                  <a:srgbClr val="00148C"/>
                </a:solidFill>
                <a:cs typeface="Arial"/>
              </a:rPr>
              <a:t>; Finance org structure different to HR org structure</a:t>
            </a:r>
          </a:p>
          <a:p>
            <a:pPr marL="285750" indent="-285750">
              <a:spcAft>
                <a:spcPts val="133"/>
              </a:spcAft>
              <a:buFontTx/>
              <a:buChar char="-"/>
            </a:pPr>
            <a:r>
              <a:rPr lang="en-US" sz="1400" b="1">
                <a:solidFill>
                  <a:srgbClr val="00148C"/>
                </a:solidFill>
                <a:cs typeface="Arial"/>
              </a:rPr>
              <a:t>Data errors </a:t>
            </a:r>
            <a:r>
              <a:rPr lang="en-US" sz="1400">
                <a:solidFill>
                  <a:srgbClr val="00148C"/>
                </a:solidFill>
                <a:cs typeface="Arial"/>
              </a:rPr>
              <a:t>; Incorrect employee data e.g. cost </a:t>
            </a:r>
            <a:r>
              <a:rPr lang="en-US" sz="1400" err="1">
                <a:solidFill>
                  <a:srgbClr val="00148C"/>
                </a:solidFill>
                <a:cs typeface="Arial"/>
              </a:rPr>
              <a:t>centre</a:t>
            </a:r>
            <a:r>
              <a:rPr lang="en-US" sz="1400">
                <a:solidFill>
                  <a:srgbClr val="00148C"/>
                </a:solidFill>
                <a:cs typeface="Arial"/>
              </a:rPr>
              <a:t>, organization unit</a:t>
            </a:r>
          </a:p>
          <a:p>
            <a:pPr marL="285750" indent="-285750">
              <a:spcAft>
                <a:spcPts val="133"/>
              </a:spcAft>
              <a:buFontTx/>
              <a:buChar char="-"/>
            </a:pPr>
            <a:endParaRPr lang="en-US" sz="1400">
              <a:solidFill>
                <a:srgbClr val="00148C"/>
              </a:solidFill>
              <a:cs typeface="Arial"/>
            </a:endParaRPr>
          </a:p>
        </p:txBody>
      </p:sp>
      <p:sp>
        <p:nvSpPr>
          <p:cNvPr id="69" name="Rectangle 68">
            <a:extLst>
              <a:ext uri="{FF2B5EF4-FFF2-40B4-BE49-F238E27FC236}">
                <a16:creationId xmlns:a16="http://schemas.microsoft.com/office/drawing/2014/main" id="{67003CE7-FABF-4AAF-8B57-33EE6EFBAFCB}"/>
              </a:ext>
            </a:extLst>
          </p:cNvPr>
          <p:cNvSpPr/>
          <p:nvPr/>
        </p:nvSpPr>
        <p:spPr>
          <a:xfrm>
            <a:off x="11385685" y="1603230"/>
            <a:ext cx="702942" cy="4939814"/>
          </a:xfrm>
          <a:prstGeom prst="rect">
            <a:avLst/>
          </a:prstGeom>
        </p:spPr>
        <p:txBody>
          <a:bodyPr wrap="square">
            <a:spAutoFit/>
          </a:bodyPr>
          <a:lstStyle/>
          <a:p>
            <a:pPr algn="ctr"/>
            <a:r>
              <a:rPr lang="en-GB" sz="900" b="1"/>
              <a:t>498.9</a:t>
            </a:r>
          </a:p>
          <a:p>
            <a:pPr algn="ctr"/>
            <a:endParaRPr lang="en-GB" sz="900"/>
          </a:p>
          <a:p>
            <a:pPr algn="ctr"/>
            <a:endParaRPr lang="en-GB" sz="900"/>
          </a:p>
          <a:p>
            <a:pPr algn="ctr"/>
            <a:r>
              <a:rPr lang="en-GB" sz="900"/>
              <a:t>118</a:t>
            </a:r>
          </a:p>
          <a:p>
            <a:pPr algn="ctr"/>
            <a:endParaRPr lang="en-GB" sz="900"/>
          </a:p>
          <a:p>
            <a:pPr algn="ctr"/>
            <a:endParaRPr lang="en-GB" sz="900"/>
          </a:p>
          <a:p>
            <a:pPr algn="ctr"/>
            <a:endParaRPr lang="en-GB" sz="900"/>
          </a:p>
          <a:p>
            <a:pPr algn="ctr"/>
            <a:r>
              <a:rPr lang="en-GB" sz="900"/>
              <a:t>24</a:t>
            </a:r>
          </a:p>
          <a:p>
            <a:pPr algn="ctr"/>
            <a:endParaRPr lang="en-GB" sz="900"/>
          </a:p>
          <a:p>
            <a:pPr algn="ctr"/>
            <a:endParaRPr lang="en-GB" sz="900"/>
          </a:p>
          <a:p>
            <a:pPr algn="ctr"/>
            <a:endParaRPr lang="en-GB" sz="900"/>
          </a:p>
          <a:p>
            <a:pPr algn="ctr"/>
            <a:r>
              <a:rPr lang="en-GB" sz="900"/>
              <a:t>10</a:t>
            </a:r>
          </a:p>
          <a:p>
            <a:pPr algn="ctr"/>
            <a:endParaRPr lang="en-GB" sz="900"/>
          </a:p>
          <a:p>
            <a:pPr algn="ctr"/>
            <a:endParaRPr lang="en-GB" sz="900"/>
          </a:p>
          <a:p>
            <a:pPr algn="ctr"/>
            <a:r>
              <a:rPr lang="en-GB" sz="900"/>
              <a:t>30</a:t>
            </a:r>
          </a:p>
          <a:p>
            <a:pPr algn="ctr"/>
            <a:endParaRPr lang="en-GB" sz="900"/>
          </a:p>
          <a:p>
            <a:pPr algn="ctr"/>
            <a:endParaRPr lang="en-GB" sz="900"/>
          </a:p>
          <a:p>
            <a:pPr algn="ctr"/>
            <a:r>
              <a:rPr lang="en-GB" sz="900"/>
              <a:t>42.9</a:t>
            </a:r>
          </a:p>
          <a:p>
            <a:pPr algn="ctr"/>
            <a:endParaRPr lang="en-GB" sz="900"/>
          </a:p>
          <a:p>
            <a:pPr algn="ctr"/>
            <a:endParaRPr lang="en-GB" sz="900"/>
          </a:p>
          <a:p>
            <a:pPr algn="ctr"/>
            <a:endParaRPr lang="en-GB" sz="900"/>
          </a:p>
          <a:p>
            <a:pPr algn="ctr"/>
            <a:r>
              <a:rPr lang="en-GB" sz="900"/>
              <a:t>6</a:t>
            </a:r>
          </a:p>
          <a:p>
            <a:pPr algn="ctr"/>
            <a:endParaRPr lang="en-GB" sz="900"/>
          </a:p>
          <a:p>
            <a:pPr algn="ctr"/>
            <a:endParaRPr lang="en-GB" sz="900"/>
          </a:p>
          <a:p>
            <a:pPr algn="ctr"/>
            <a:r>
              <a:rPr lang="en-GB" sz="900"/>
              <a:t>92.8</a:t>
            </a:r>
          </a:p>
          <a:p>
            <a:pPr algn="ctr"/>
            <a:endParaRPr lang="en-GB" sz="900"/>
          </a:p>
          <a:p>
            <a:pPr algn="ctr"/>
            <a:endParaRPr lang="en-GB" sz="900"/>
          </a:p>
          <a:p>
            <a:pPr algn="ctr"/>
            <a:endParaRPr lang="en-GB" sz="900"/>
          </a:p>
          <a:p>
            <a:pPr algn="ctr"/>
            <a:r>
              <a:rPr lang="en-GB" sz="900"/>
              <a:t>127.5</a:t>
            </a:r>
          </a:p>
          <a:p>
            <a:pPr algn="ctr"/>
            <a:endParaRPr lang="en-GB" sz="900"/>
          </a:p>
          <a:p>
            <a:pPr algn="ctr"/>
            <a:endParaRPr lang="en-GB" sz="900"/>
          </a:p>
          <a:p>
            <a:pPr algn="ctr"/>
            <a:r>
              <a:rPr lang="en-GB" sz="900"/>
              <a:t>47.7</a:t>
            </a:r>
          </a:p>
          <a:p>
            <a:pPr algn="ctr"/>
            <a:endParaRPr lang="en-GB" sz="900"/>
          </a:p>
          <a:p>
            <a:pPr algn="ctr"/>
            <a:endParaRPr lang="en-GB" sz="900"/>
          </a:p>
        </p:txBody>
      </p:sp>
      <p:grpSp>
        <p:nvGrpSpPr>
          <p:cNvPr id="75" name="Group 74">
            <a:extLst>
              <a:ext uri="{FF2B5EF4-FFF2-40B4-BE49-F238E27FC236}">
                <a16:creationId xmlns:a16="http://schemas.microsoft.com/office/drawing/2014/main" id="{5DCDA5AF-42BF-4096-B20F-2BD82E82F912}"/>
              </a:ext>
            </a:extLst>
          </p:cNvPr>
          <p:cNvGrpSpPr/>
          <p:nvPr/>
        </p:nvGrpSpPr>
        <p:grpSpPr>
          <a:xfrm>
            <a:off x="6995934" y="1254839"/>
            <a:ext cx="4774403" cy="5316584"/>
            <a:chOff x="7261933" y="1350843"/>
            <a:chExt cx="4774403" cy="5316584"/>
          </a:xfrm>
        </p:grpSpPr>
        <p:grpSp>
          <p:nvGrpSpPr>
            <p:cNvPr id="66" name="Group 65">
              <a:extLst>
                <a:ext uri="{FF2B5EF4-FFF2-40B4-BE49-F238E27FC236}">
                  <a16:creationId xmlns:a16="http://schemas.microsoft.com/office/drawing/2014/main" id="{6483B2BE-A390-418C-8754-B4842D450C9B}"/>
                </a:ext>
              </a:extLst>
            </p:cNvPr>
            <p:cNvGrpSpPr/>
            <p:nvPr/>
          </p:nvGrpSpPr>
          <p:grpSpPr>
            <a:xfrm>
              <a:off x="7261933" y="1350843"/>
              <a:ext cx="4774403" cy="5316584"/>
              <a:chOff x="7421102" y="1398920"/>
              <a:chExt cx="4774403" cy="5316584"/>
            </a:xfrm>
          </p:grpSpPr>
          <p:grpSp>
            <p:nvGrpSpPr>
              <p:cNvPr id="63" name="Group 62">
                <a:extLst>
                  <a:ext uri="{FF2B5EF4-FFF2-40B4-BE49-F238E27FC236}">
                    <a16:creationId xmlns:a16="http://schemas.microsoft.com/office/drawing/2014/main" id="{EEB51ACC-AE12-4F7E-90B9-629C04D9E3E1}"/>
                  </a:ext>
                </a:extLst>
              </p:cNvPr>
              <p:cNvGrpSpPr/>
              <p:nvPr/>
            </p:nvGrpSpPr>
            <p:grpSpPr>
              <a:xfrm>
                <a:off x="10001156" y="1717863"/>
                <a:ext cx="1864557" cy="4347940"/>
                <a:chOff x="9310976" y="1990087"/>
                <a:chExt cx="2223686" cy="4434327"/>
              </a:xfrm>
            </p:grpSpPr>
            <p:grpSp>
              <p:nvGrpSpPr>
                <p:cNvPr id="28" name="Group 27">
                  <a:extLst>
                    <a:ext uri="{FF2B5EF4-FFF2-40B4-BE49-F238E27FC236}">
                      <a16:creationId xmlns:a16="http://schemas.microsoft.com/office/drawing/2014/main" id="{ACD37FEA-E285-40EB-B898-A4F0E6BA5D01}"/>
                    </a:ext>
                  </a:extLst>
                </p:cNvPr>
                <p:cNvGrpSpPr/>
                <p:nvPr/>
              </p:nvGrpSpPr>
              <p:grpSpPr>
                <a:xfrm>
                  <a:off x="9310976" y="1990087"/>
                  <a:ext cx="2223686" cy="3676637"/>
                  <a:chOff x="283607" y="1534116"/>
                  <a:chExt cx="1127647" cy="3676637"/>
                </a:xfrm>
                <a:solidFill>
                  <a:schemeClr val="accent6">
                    <a:lumMod val="75000"/>
                  </a:schemeClr>
                </a:solidFill>
              </p:grpSpPr>
              <p:sp>
                <p:nvSpPr>
                  <p:cNvPr id="29" name="Rectangle 28">
                    <a:extLst>
                      <a:ext uri="{FF2B5EF4-FFF2-40B4-BE49-F238E27FC236}">
                        <a16:creationId xmlns:a16="http://schemas.microsoft.com/office/drawing/2014/main" id="{B9990D26-67DC-4C56-B02C-BD9E5947E7AB}"/>
                      </a:ext>
                    </a:extLst>
                  </p:cNvPr>
                  <p:cNvSpPr/>
                  <p:nvPr/>
                </p:nvSpPr>
                <p:spPr bwMode="auto">
                  <a:xfrm>
                    <a:off x="283607" y="1534116"/>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I&amp;O</a:t>
                    </a:r>
                  </a:p>
                </p:txBody>
              </p:sp>
              <p:sp>
                <p:nvSpPr>
                  <p:cNvPr id="30" name="Rectangle 29">
                    <a:extLst>
                      <a:ext uri="{FF2B5EF4-FFF2-40B4-BE49-F238E27FC236}">
                        <a16:creationId xmlns:a16="http://schemas.microsoft.com/office/drawing/2014/main" id="{88E9E28E-7FF9-43E2-ABAE-94E1D2BDD5FC}"/>
                      </a:ext>
                    </a:extLst>
                  </p:cNvPr>
                  <p:cNvSpPr/>
                  <p:nvPr/>
                </p:nvSpPr>
                <p:spPr bwMode="auto">
                  <a:xfrm>
                    <a:off x="669627" y="2000829"/>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IT Operations</a:t>
                    </a:r>
                  </a:p>
                </p:txBody>
              </p:sp>
              <p:sp>
                <p:nvSpPr>
                  <p:cNvPr id="31" name="Rectangle 30">
                    <a:extLst>
                      <a:ext uri="{FF2B5EF4-FFF2-40B4-BE49-F238E27FC236}">
                        <a16:creationId xmlns:a16="http://schemas.microsoft.com/office/drawing/2014/main" id="{292BDCAC-BCB4-4181-BB3C-81F5A0860665}"/>
                      </a:ext>
                    </a:extLst>
                  </p:cNvPr>
                  <p:cNvSpPr/>
                  <p:nvPr/>
                </p:nvSpPr>
                <p:spPr bwMode="auto">
                  <a:xfrm>
                    <a:off x="669627" y="2474261"/>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Networks</a:t>
                    </a:r>
                    <a:endParaRPr lang="en-GB" sz="750">
                      <a:solidFill>
                        <a:schemeClr val="bg1"/>
                      </a:solidFill>
                      <a:latin typeface="+mn-lt"/>
                      <a:cs typeface="Arial"/>
                    </a:endParaRPr>
                  </a:p>
                </p:txBody>
              </p:sp>
              <p:sp>
                <p:nvSpPr>
                  <p:cNvPr id="32" name="Rectangle 31">
                    <a:extLst>
                      <a:ext uri="{FF2B5EF4-FFF2-40B4-BE49-F238E27FC236}">
                        <a16:creationId xmlns:a16="http://schemas.microsoft.com/office/drawing/2014/main" id="{C9907FC0-4738-4166-BA2A-CC46C90674A8}"/>
                      </a:ext>
                    </a:extLst>
                  </p:cNvPr>
                  <p:cNvSpPr/>
                  <p:nvPr/>
                </p:nvSpPr>
                <p:spPr bwMode="auto">
                  <a:xfrm>
                    <a:off x="669627" y="2947693"/>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End Use Services </a:t>
                    </a:r>
                    <a:endParaRPr lang="en-GB" sz="750">
                      <a:solidFill>
                        <a:schemeClr val="bg1"/>
                      </a:solidFill>
                      <a:latin typeface="+mn-lt"/>
                      <a:cs typeface="Arial"/>
                    </a:endParaRPr>
                  </a:p>
                </p:txBody>
              </p:sp>
              <p:sp>
                <p:nvSpPr>
                  <p:cNvPr id="33" name="Rectangle 32">
                    <a:extLst>
                      <a:ext uri="{FF2B5EF4-FFF2-40B4-BE49-F238E27FC236}">
                        <a16:creationId xmlns:a16="http://schemas.microsoft.com/office/drawing/2014/main" id="{027DFE3B-4D48-4FF0-BA4B-7559ABD1F359}"/>
                      </a:ext>
                    </a:extLst>
                  </p:cNvPr>
                  <p:cNvSpPr/>
                  <p:nvPr/>
                </p:nvSpPr>
                <p:spPr bwMode="auto">
                  <a:xfrm>
                    <a:off x="669627" y="3421125"/>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Cloud &amp; Hosting</a:t>
                    </a:r>
                    <a:endParaRPr lang="en-GB" sz="750">
                      <a:solidFill>
                        <a:schemeClr val="bg1"/>
                      </a:solidFill>
                      <a:latin typeface="+mn-lt"/>
                      <a:cs typeface="Arial"/>
                    </a:endParaRPr>
                  </a:p>
                </p:txBody>
              </p:sp>
              <p:sp>
                <p:nvSpPr>
                  <p:cNvPr id="34" name="Rectangle 33">
                    <a:extLst>
                      <a:ext uri="{FF2B5EF4-FFF2-40B4-BE49-F238E27FC236}">
                        <a16:creationId xmlns:a16="http://schemas.microsoft.com/office/drawing/2014/main" id="{1F89BF03-57AD-448F-BA8E-C02C341DF1F5}"/>
                      </a:ext>
                    </a:extLst>
                  </p:cNvPr>
                  <p:cNvSpPr/>
                  <p:nvPr/>
                </p:nvSpPr>
                <p:spPr bwMode="auto">
                  <a:xfrm>
                    <a:off x="669627" y="3894557"/>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Commercial</a:t>
                    </a:r>
                    <a:endParaRPr lang="en-GB" sz="750">
                      <a:solidFill>
                        <a:schemeClr val="bg1"/>
                      </a:solidFill>
                      <a:latin typeface="+mn-lt"/>
                      <a:cs typeface="Arial"/>
                    </a:endParaRPr>
                  </a:p>
                </p:txBody>
              </p:sp>
              <p:sp>
                <p:nvSpPr>
                  <p:cNvPr id="35" name="Rectangle 34">
                    <a:extLst>
                      <a:ext uri="{FF2B5EF4-FFF2-40B4-BE49-F238E27FC236}">
                        <a16:creationId xmlns:a16="http://schemas.microsoft.com/office/drawing/2014/main" id="{B617FEB9-A864-4D82-BB2C-058184C945BB}"/>
                      </a:ext>
                    </a:extLst>
                  </p:cNvPr>
                  <p:cNvSpPr/>
                  <p:nvPr/>
                </p:nvSpPr>
                <p:spPr bwMode="auto">
                  <a:xfrm>
                    <a:off x="669627" y="4367989"/>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IT Subscription</a:t>
                    </a:r>
                  </a:p>
                </p:txBody>
              </p:sp>
              <p:sp>
                <p:nvSpPr>
                  <p:cNvPr id="36" name="Rectangle 35">
                    <a:extLst>
                      <a:ext uri="{FF2B5EF4-FFF2-40B4-BE49-F238E27FC236}">
                        <a16:creationId xmlns:a16="http://schemas.microsoft.com/office/drawing/2014/main" id="{23A70C9C-7B18-4FA0-BCCF-4DFDD2F694EA}"/>
                      </a:ext>
                    </a:extLst>
                  </p:cNvPr>
                  <p:cNvSpPr/>
                  <p:nvPr/>
                </p:nvSpPr>
                <p:spPr bwMode="auto">
                  <a:xfrm>
                    <a:off x="669627" y="4841421"/>
                    <a:ext cx="741627" cy="369332"/>
                  </a:xfrm>
                  <a:prstGeom prst="rect">
                    <a:avLst/>
                  </a:prstGeom>
                  <a:grp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Program Delivery</a:t>
                    </a:r>
                  </a:p>
                </p:txBody>
              </p:sp>
            </p:grpSp>
            <p:cxnSp>
              <p:nvCxnSpPr>
                <p:cNvPr id="40" name="Straight Connector 39">
                  <a:extLst>
                    <a:ext uri="{FF2B5EF4-FFF2-40B4-BE49-F238E27FC236}">
                      <a16:creationId xmlns:a16="http://schemas.microsoft.com/office/drawing/2014/main" id="{9ED3AA98-F4DC-44B1-90F0-9904E0B7BCCF}"/>
                    </a:ext>
                  </a:extLst>
                </p:cNvPr>
                <p:cNvCxnSpPr/>
                <p:nvPr/>
              </p:nvCxnSpPr>
              <p:spPr bwMode="auto">
                <a:xfrm flipH="1">
                  <a:off x="9688722" y="2359419"/>
                  <a:ext cx="3332" cy="406499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a:extLst>
                    <a:ext uri="{FF2B5EF4-FFF2-40B4-BE49-F238E27FC236}">
                      <a16:creationId xmlns:a16="http://schemas.microsoft.com/office/drawing/2014/main" id="{5ED674F2-85C1-45A5-8D2C-8CC95D875301}"/>
                    </a:ext>
                  </a:extLst>
                </p:cNvPr>
                <p:cNvCxnSpPr>
                  <a:endCxn id="30" idx="1"/>
                </p:cNvCxnSpPr>
                <p:nvPr/>
              </p:nvCxnSpPr>
              <p:spPr bwMode="auto">
                <a:xfrm>
                  <a:off x="9692054" y="2641466"/>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44">
                  <a:extLst>
                    <a:ext uri="{FF2B5EF4-FFF2-40B4-BE49-F238E27FC236}">
                      <a16:creationId xmlns:a16="http://schemas.microsoft.com/office/drawing/2014/main" id="{F4A1D9BC-3EBB-4962-8C3E-93701DE5AB7F}"/>
                    </a:ext>
                  </a:extLst>
                </p:cNvPr>
                <p:cNvCxnSpPr/>
                <p:nvPr/>
              </p:nvCxnSpPr>
              <p:spPr bwMode="auto">
                <a:xfrm>
                  <a:off x="9692054" y="3104018"/>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1C670970-7E5A-4F5C-958B-33A4B40BFA73}"/>
                    </a:ext>
                  </a:extLst>
                </p:cNvPr>
                <p:cNvCxnSpPr/>
                <p:nvPr/>
              </p:nvCxnSpPr>
              <p:spPr bwMode="auto">
                <a:xfrm>
                  <a:off x="9692054" y="3603827"/>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a:extLst>
                    <a:ext uri="{FF2B5EF4-FFF2-40B4-BE49-F238E27FC236}">
                      <a16:creationId xmlns:a16="http://schemas.microsoft.com/office/drawing/2014/main" id="{EBECF2CD-FFF6-4F35-BD74-0F3767E9ABEC}"/>
                    </a:ext>
                  </a:extLst>
                </p:cNvPr>
                <p:cNvCxnSpPr/>
                <p:nvPr/>
              </p:nvCxnSpPr>
              <p:spPr bwMode="auto">
                <a:xfrm>
                  <a:off x="9692054" y="4061762"/>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a:extLst>
                    <a:ext uri="{FF2B5EF4-FFF2-40B4-BE49-F238E27FC236}">
                      <a16:creationId xmlns:a16="http://schemas.microsoft.com/office/drawing/2014/main" id="{2165C8B9-77EF-4FC2-A1F1-82CE41C0EFCD}"/>
                    </a:ext>
                  </a:extLst>
                </p:cNvPr>
                <p:cNvCxnSpPr/>
                <p:nvPr/>
              </p:nvCxnSpPr>
              <p:spPr bwMode="auto">
                <a:xfrm>
                  <a:off x="9692054" y="4548494"/>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a:extLst>
                    <a:ext uri="{FF2B5EF4-FFF2-40B4-BE49-F238E27FC236}">
                      <a16:creationId xmlns:a16="http://schemas.microsoft.com/office/drawing/2014/main" id="{4557E328-0021-4BD8-9163-5D734ACDA9EF}"/>
                    </a:ext>
                  </a:extLst>
                </p:cNvPr>
                <p:cNvCxnSpPr/>
                <p:nvPr/>
              </p:nvCxnSpPr>
              <p:spPr bwMode="auto">
                <a:xfrm>
                  <a:off x="9692054" y="5008626"/>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a:extLst>
                    <a:ext uri="{FF2B5EF4-FFF2-40B4-BE49-F238E27FC236}">
                      <a16:creationId xmlns:a16="http://schemas.microsoft.com/office/drawing/2014/main" id="{E2BE6A42-A635-4FDE-8845-9266056A0F7C}"/>
                    </a:ext>
                  </a:extLst>
                </p:cNvPr>
                <p:cNvCxnSpPr/>
                <p:nvPr/>
              </p:nvCxnSpPr>
              <p:spPr bwMode="auto">
                <a:xfrm>
                  <a:off x="9692054" y="5482058"/>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62" name="Group 61">
                <a:extLst>
                  <a:ext uri="{FF2B5EF4-FFF2-40B4-BE49-F238E27FC236}">
                    <a16:creationId xmlns:a16="http://schemas.microsoft.com/office/drawing/2014/main" id="{0568A75B-DECF-424D-A016-920B1938CF4B}"/>
                  </a:ext>
                </a:extLst>
              </p:cNvPr>
              <p:cNvGrpSpPr/>
              <p:nvPr/>
            </p:nvGrpSpPr>
            <p:grpSpPr>
              <a:xfrm>
                <a:off x="7542005" y="1717863"/>
                <a:ext cx="1864557" cy="4997641"/>
                <a:chOff x="4697563" y="1227889"/>
                <a:chExt cx="2223686" cy="5096937"/>
              </a:xfrm>
            </p:grpSpPr>
            <p:grpSp>
              <p:nvGrpSpPr>
                <p:cNvPr id="9" name="Group 8">
                  <a:extLst>
                    <a:ext uri="{FF2B5EF4-FFF2-40B4-BE49-F238E27FC236}">
                      <a16:creationId xmlns:a16="http://schemas.microsoft.com/office/drawing/2014/main" id="{19F80AB9-0B70-4D94-B1F3-13153AE1D4DD}"/>
                    </a:ext>
                  </a:extLst>
                </p:cNvPr>
                <p:cNvGrpSpPr/>
                <p:nvPr/>
              </p:nvGrpSpPr>
              <p:grpSpPr>
                <a:xfrm>
                  <a:off x="4697563" y="1227889"/>
                  <a:ext cx="2223686" cy="5096937"/>
                  <a:chOff x="283607" y="1534116"/>
                  <a:chExt cx="1127647" cy="5096937"/>
                </a:xfrm>
              </p:grpSpPr>
              <p:sp>
                <p:nvSpPr>
                  <p:cNvPr id="8" name="Rectangle 7">
                    <a:extLst>
                      <a:ext uri="{FF2B5EF4-FFF2-40B4-BE49-F238E27FC236}">
                        <a16:creationId xmlns:a16="http://schemas.microsoft.com/office/drawing/2014/main" id="{59F3DAB7-A41F-48E0-A998-74F918A78395}"/>
                      </a:ext>
                    </a:extLst>
                  </p:cNvPr>
                  <p:cNvSpPr/>
                  <p:nvPr/>
                </p:nvSpPr>
                <p:spPr bwMode="auto">
                  <a:xfrm>
                    <a:off x="283607" y="1534116"/>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I&amp;O</a:t>
                    </a:r>
                  </a:p>
                </p:txBody>
              </p:sp>
              <p:sp>
                <p:nvSpPr>
                  <p:cNvPr id="14" name="Rectangle 13">
                    <a:extLst>
                      <a:ext uri="{FF2B5EF4-FFF2-40B4-BE49-F238E27FC236}">
                        <a16:creationId xmlns:a16="http://schemas.microsoft.com/office/drawing/2014/main" id="{51C912B5-716B-4DF8-AD63-337537608BBC}"/>
                      </a:ext>
                    </a:extLst>
                  </p:cNvPr>
                  <p:cNvSpPr/>
                  <p:nvPr/>
                </p:nvSpPr>
                <p:spPr bwMode="auto">
                  <a:xfrm>
                    <a:off x="669627" y="2000829"/>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IT Operations</a:t>
                    </a:r>
                  </a:p>
                </p:txBody>
              </p:sp>
              <p:sp>
                <p:nvSpPr>
                  <p:cNvPr id="15" name="Rectangle 14">
                    <a:extLst>
                      <a:ext uri="{FF2B5EF4-FFF2-40B4-BE49-F238E27FC236}">
                        <a16:creationId xmlns:a16="http://schemas.microsoft.com/office/drawing/2014/main" id="{985E7416-3D3E-4C28-85E6-58B19044AB12}"/>
                      </a:ext>
                    </a:extLst>
                  </p:cNvPr>
                  <p:cNvSpPr/>
                  <p:nvPr/>
                </p:nvSpPr>
                <p:spPr bwMode="auto">
                  <a:xfrm>
                    <a:off x="669627" y="2474261"/>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Network Infra Services</a:t>
                    </a:r>
                    <a:endParaRPr lang="en-GB" sz="750">
                      <a:solidFill>
                        <a:schemeClr val="bg1"/>
                      </a:solidFill>
                      <a:latin typeface="+mn-lt"/>
                      <a:cs typeface="Arial"/>
                    </a:endParaRPr>
                  </a:p>
                </p:txBody>
              </p:sp>
              <p:sp>
                <p:nvSpPr>
                  <p:cNvPr id="16" name="Rectangle 15">
                    <a:extLst>
                      <a:ext uri="{FF2B5EF4-FFF2-40B4-BE49-F238E27FC236}">
                        <a16:creationId xmlns:a16="http://schemas.microsoft.com/office/drawing/2014/main" id="{AE832F63-F7B9-46B9-A14E-2446D259DA3D}"/>
                      </a:ext>
                    </a:extLst>
                  </p:cNvPr>
                  <p:cNvSpPr/>
                  <p:nvPr/>
                </p:nvSpPr>
                <p:spPr bwMode="auto">
                  <a:xfrm>
                    <a:off x="669627" y="2947693"/>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End User Experience</a:t>
                    </a:r>
                    <a:endParaRPr lang="en-GB" sz="750">
                      <a:solidFill>
                        <a:schemeClr val="bg1"/>
                      </a:solidFill>
                      <a:latin typeface="+mn-lt"/>
                      <a:cs typeface="Arial"/>
                    </a:endParaRPr>
                  </a:p>
                </p:txBody>
              </p:sp>
              <p:sp>
                <p:nvSpPr>
                  <p:cNvPr id="17" name="Rectangle 16">
                    <a:extLst>
                      <a:ext uri="{FF2B5EF4-FFF2-40B4-BE49-F238E27FC236}">
                        <a16:creationId xmlns:a16="http://schemas.microsoft.com/office/drawing/2014/main" id="{1AB6D34C-CC89-46D0-BCAD-63510602353E}"/>
                      </a:ext>
                    </a:extLst>
                  </p:cNvPr>
                  <p:cNvSpPr/>
                  <p:nvPr/>
                </p:nvSpPr>
                <p:spPr bwMode="auto">
                  <a:xfrm>
                    <a:off x="669627" y="3421125"/>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Cloud &amp; Hosting</a:t>
                    </a:r>
                    <a:endParaRPr lang="en-GB" sz="750">
                      <a:solidFill>
                        <a:schemeClr val="bg1"/>
                      </a:solidFill>
                      <a:latin typeface="+mn-lt"/>
                      <a:cs typeface="Arial"/>
                    </a:endParaRPr>
                  </a:p>
                </p:txBody>
              </p:sp>
              <p:sp>
                <p:nvSpPr>
                  <p:cNvPr id="18" name="Rectangle 17">
                    <a:extLst>
                      <a:ext uri="{FF2B5EF4-FFF2-40B4-BE49-F238E27FC236}">
                        <a16:creationId xmlns:a16="http://schemas.microsoft.com/office/drawing/2014/main" id="{2F64D9A6-B70A-49A5-A65C-3489373A4DAE}"/>
                      </a:ext>
                    </a:extLst>
                  </p:cNvPr>
                  <p:cNvSpPr/>
                  <p:nvPr/>
                </p:nvSpPr>
                <p:spPr bwMode="auto">
                  <a:xfrm>
                    <a:off x="669627" y="3894557"/>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IT Commercial</a:t>
                    </a:r>
                    <a:endParaRPr lang="en-GB" sz="750">
                      <a:solidFill>
                        <a:schemeClr val="bg1"/>
                      </a:solidFill>
                      <a:latin typeface="+mn-lt"/>
                      <a:cs typeface="Arial"/>
                    </a:endParaRPr>
                  </a:p>
                </p:txBody>
              </p:sp>
              <p:sp>
                <p:nvSpPr>
                  <p:cNvPr id="19" name="Rectangle 18">
                    <a:extLst>
                      <a:ext uri="{FF2B5EF4-FFF2-40B4-BE49-F238E27FC236}">
                        <a16:creationId xmlns:a16="http://schemas.microsoft.com/office/drawing/2014/main" id="{2C710B28-DAA6-4172-A7AE-265E5CAFEEA4}"/>
                      </a:ext>
                    </a:extLst>
                  </p:cNvPr>
                  <p:cNvSpPr/>
                  <p:nvPr/>
                </p:nvSpPr>
                <p:spPr bwMode="auto">
                  <a:xfrm>
                    <a:off x="669627" y="4367989"/>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Global Infrastructure, Audit &amp; Controls</a:t>
                    </a:r>
                  </a:p>
                </p:txBody>
              </p:sp>
              <p:sp>
                <p:nvSpPr>
                  <p:cNvPr id="20" name="Rectangle 19">
                    <a:extLst>
                      <a:ext uri="{FF2B5EF4-FFF2-40B4-BE49-F238E27FC236}">
                        <a16:creationId xmlns:a16="http://schemas.microsoft.com/office/drawing/2014/main" id="{B037E393-87A5-4FE6-81EA-328FA343EBA9}"/>
                      </a:ext>
                    </a:extLst>
                  </p:cNvPr>
                  <p:cNvSpPr/>
                  <p:nvPr/>
                </p:nvSpPr>
                <p:spPr bwMode="auto">
                  <a:xfrm>
                    <a:off x="669627" y="4841421"/>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Strategy, Performance &amp; Infrastructure Solution Delivery</a:t>
                    </a:r>
                  </a:p>
                </p:txBody>
              </p:sp>
              <p:sp>
                <p:nvSpPr>
                  <p:cNvPr id="24" name="Rectangle 23">
                    <a:extLst>
                      <a:ext uri="{FF2B5EF4-FFF2-40B4-BE49-F238E27FC236}">
                        <a16:creationId xmlns:a16="http://schemas.microsoft.com/office/drawing/2014/main" id="{400F260A-0394-46C9-BF1D-F5F275E69A04}"/>
                      </a:ext>
                    </a:extLst>
                  </p:cNvPr>
                  <p:cNvSpPr/>
                  <p:nvPr/>
                </p:nvSpPr>
                <p:spPr bwMode="auto">
                  <a:xfrm>
                    <a:off x="669627" y="5314853"/>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Strategic Business Relationship Management</a:t>
                    </a:r>
                  </a:p>
                </p:txBody>
              </p:sp>
              <p:sp>
                <p:nvSpPr>
                  <p:cNvPr id="26" name="Rectangle 25">
                    <a:extLst>
                      <a:ext uri="{FF2B5EF4-FFF2-40B4-BE49-F238E27FC236}">
                        <a16:creationId xmlns:a16="http://schemas.microsoft.com/office/drawing/2014/main" id="{41436033-CE7F-4EC4-933B-0E9DDA6C339C}"/>
                      </a:ext>
                    </a:extLst>
                  </p:cNvPr>
                  <p:cNvSpPr/>
                  <p:nvPr/>
                </p:nvSpPr>
                <p:spPr bwMode="auto">
                  <a:xfrm>
                    <a:off x="669627" y="5788285"/>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latin typeface="+mn-lt"/>
                        <a:cs typeface="Arial"/>
                      </a:rPr>
                      <a:t>UK CNI</a:t>
                    </a:r>
                  </a:p>
                </p:txBody>
              </p:sp>
              <p:sp>
                <p:nvSpPr>
                  <p:cNvPr id="27" name="Rectangle 26">
                    <a:extLst>
                      <a:ext uri="{FF2B5EF4-FFF2-40B4-BE49-F238E27FC236}">
                        <a16:creationId xmlns:a16="http://schemas.microsoft.com/office/drawing/2014/main" id="{55E9FB5D-1825-4EC1-B73A-427A3F411FC2}"/>
                      </a:ext>
                    </a:extLst>
                  </p:cNvPr>
                  <p:cNvSpPr/>
                  <p:nvPr/>
                </p:nvSpPr>
                <p:spPr bwMode="auto">
                  <a:xfrm>
                    <a:off x="669627" y="6261721"/>
                    <a:ext cx="741627" cy="36933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US CNI</a:t>
                    </a:r>
                    <a:endParaRPr lang="en-GB" sz="750">
                      <a:solidFill>
                        <a:schemeClr val="bg1"/>
                      </a:solidFill>
                      <a:latin typeface="+mn-lt"/>
                      <a:cs typeface="Arial"/>
                    </a:endParaRPr>
                  </a:p>
                </p:txBody>
              </p:sp>
            </p:grpSp>
            <p:cxnSp>
              <p:nvCxnSpPr>
                <p:cNvPr id="13" name="Straight Connector 12">
                  <a:extLst>
                    <a:ext uri="{FF2B5EF4-FFF2-40B4-BE49-F238E27FC236}">
                      <a16:creationId xmlns:a16="http://schemas.microsoft.com/office/drawing/2014/main" id="{568ADC72-C547-4A8C-BFDE-69744612AC6B}"/>
                    </a:ext>
                  </a:extLst>
                </p:cNvPr>
                <p:cNvCxnSpPr/>
                <p:nvPr/>
              </p:nvCxnSpPr>
              <p:spPr bwMode="auto">
                <a:xfrm>
                  <a:off x="5090746" y="1597221"/>
                  <a:ext cx="0" cy="4538427"/>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a:extLst>
                    <a:ext uri="{FF2B5EF4-FFF2-40B4-BE49-F238E27FC236}">
                      <a16:creationId xmlns:a16="http://schemas.microsoft.com/office/drawing/2014/main" id="{302B59F6-CBAB-4749-BCCF-7A58EBAB8B44}"/>
                    </a:ext>
                  </a:extLst>
                </p:cNvPr>
                <p:cNvCxnSpPr/>
                <p:nvPr/>
              </p:nvCxnSpPr>
              <p:spPr bwMode="auto">
                <a:xfrm>
                  <a:off x="5090746" y="1844297"/>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a:extLst>
                    <a:ext uri="{FF2B5EF4-FFF2-40B4-BE49-F238E27FC236}">
                      <a16:creationId xmlns:a16="http://schemas.microsoft.com/office/drawing/2014/main" id="{C72E7A9D-2B83-4136-941C-8200DC9E81EF}"/>
                    </a:ext>
                  </a:extLst>
                </p:cNvPr>
                <p:cNvCxnSpPr/>
                <p:nvPr/>
              </p:nvCxnSpPr>
              <p:spPr bwMode="auto">
                <a:xfrm>
                  <a:off x="5090746" y="2306849"/>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a:extLst>
                    <a:ext uri="{FF2B5EF4-FFF2-40B4-BE49-F238E27FC236}">
                      <a16:creationId xmlns:a16="http://schemas.microsoft.com/office/drawing/2014/main" id="{1022058B-B593-4D9B-B566-E4828FB9382E}"/>
                    </a:ext>
                  </a:extLst>
                </p:cNvPr>
                <p:cNvCxnSpPr/>
                <p:nvPr/>
              </p:nvCxnSpPr>
              <p:spPr bwMode="auto">
                <a:xfrm>
                  <a:off x="5090746" y="2806658"/>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a:extLst>
                    <a:ext uri="{FF2B5EF4-FFF2-40B4-BE49-F238E27FC236}">
                      <a16:creationId xmlns:a16="http://schemas.microsoft.com/office/drawing/2014/main" id="{B376C6B6-7FFB-4E3E-AA36-C477A0C0EB3D}"/>
                    </a:ext>
                  </a:extLst>
                </p:cNvPr>
                <p:cNvCxnSpPr/>
                <p:nvPr/>
              </p:nvCxnSpPr>
              <p:spPr bwMode="auto">
                <a:xfrm>
                  <a:off x="5090746" y="3264593"/>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a:extLst>
                    <a:ext uri="{FF2B5EF4-FFF2-40B4-BE49-F238E27FC236}">
                      <a16:creationId xmlns:a16="http://schemas.microsoft.com/office/drawing/2014/main" id="{81961B32-7C5A-4685-BA7B-811B3DF6524F}"/>
                    </a:ext>
                  </a:extLst>
                </p:cNvPr>
                <p:cNvCxnSpPr/>
                <p:nvPr/>
              </p:nvCxnSpPr>
              <p:spPr bwMode="auto">
                <a:xfrm>
                  <a:off x="5090746" y="3751325"/>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DBF62C68-CACB-45DA-8FCA-FFBD92EEAF6E}"/>
                    </a:ext>
                  </a:extLst>
                </p:cNvPr>
                <p:cNvCxnSpPr/>
                <p:nvPr/>
              </p:nvCxnSpPr>
              <p:spPr bwMode="auto">
                <a:xfrm>
                  <a:off x="5090746" y="4211457"/>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B42AEA1D-6A7B-4747-A247-6CA35D877412}"/>
                    </a:ext>
                  </a:extLst>
                </p:cNvPr>
                <p:cNvCxnSpPr/>
                <p:nvPr/>
              </p:nvCxnSpPr>
              <p:spPr bwMode="auto">
                <a:xfrm>
                  <a:off x="5090746" y="4684889"/>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a:extLst>
                    <a:ext uri="{FF2B5EF4-FFF2-40B4-BE49-F238E27FC236}">
                      <a16:creationId xmlns:a16="http://schemas.microsoft.com/office/drawing/2014/main" id="{812A7A72-61C8-4EE5-846F-74C73A62A4D0}"/>
                    </a:ext>
                  </a:extLst>
                </p:cNvPr>
                <p:cNvCxnSpPr/>
                <p:nvPr/>
              </p:nvCxnSpPr>
              <p:spPr bwMode="auto">
                <a:xfrm>
                  <a:off x="5090746" y="5202084"/>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7E8C4B4D-7F37-4343-8F61-B3FDA8456B84}"/>
                    </a:ext>
                  </a:extLst>
                </p:cNvPr>
                <p:cNvCxnSpPr/>
                <p:nvPr/>
              </p:nvCxnSpPr>
              <p:spPr bwMode="auto">
                <a:xfrm>
                  <a:off x="5090746" y="5662216"/>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a:extLst>
                    <a:ext uri="{FF2B5EF4-FFF2-40B4-BE49-F238E27FC236}">
                      <a16:creationId xmlns:a16="http://schemas.microsoft.com/office/drawing/2014/main" id="{ED8F5F1D-7D2B-43B9-AE45-F066403694B8}"/>
                    </a:ext>
                  </a:extLst>
                </p:cNvPr>
                <p:cNvCxnSpPr/>
                <p:nvPr/>
              </p:nvCxnSpPr>
              <p:spPr bwMode="auto">
                <a:xfrm>
                  <a:off x="5090746" y="6135648"/>
                  <a:ext cx="38014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4" name="Rectangle 63">
                <a:extLst>
                  <a:ext uri="{FF2B5EF4-FFF2-40B4-BE49-F238E27FC236}">
                    <a16:creationId xmlns:a16="http://schemas.microsoft.com/office/drawing/2014/main" id="{F74838DF-EF0E-45FE-BA65-251B804B309C}"/>
                  </a:ext>
                </a:extLst>
              </p:cNvPr>
              <p:cNvSpPr/>
              <p:nvPr/>
            </p:nvSpPr>
            <p:spPr>
              <a:xfrm>
                <a:off x="7421102" y="1398920"/>
                <a:ext cx="2446504" cy="261610"/>
              </a:xfrm>
              <a:prstGeom prst="rect">
                <a:avLst/>
              </a:prstGeom>
            </p:spPr>
            <p:txBody>
              <a:bodyPr wrap="none">
                <a:spAutoFit/>
              </a:bodyPr>
              <a:lstStyle/>
              <a:p>
                <a:pPr>
                  <a:spcAft>
                    <a:spcPts val="133"/>
                  </a:spcAft>
                </a:pPr>
                <a:r>
                  <a:rPr lang="en-US" sz="1100" b="1">
                    <a:cs typeface="Arial"/>
                  </a:rPr>
                  <a:t>Example – Org (</a:t>
                </a:r>
                <a:r>
                  <a:rPr lang="en-US" sz="1100" b="1" err="1">
                    <a:cs typeface="Arial"/>
                  </a:rPr>
                  <a:t>MyHub</a:t>
                </a:r>
                <a:r>
                  <a:rPr lang="en-US" sz="1100" b="1">
                    <a:cs typeface="Arial"/>
                  </a:rPr>
                  <a:t>) hierarchy</a:t>
                </a:r>
              </a:p>
            </p:txBody>
          </p:sp>
          <p:sp>
            <p:nvSpPr>
              <p:cNvPr id="65" name="Rectangle 64">
                <a:extLst>
                  <a:ext uri="{FF2B5EF4-FFF2-40B4-BE49-F238E27FC236}">
                    <a16:creationId xmlns:a16="http://schemas.microsoft.com/office/drawing/2014/main" id="{E8F26A96-8340-40B2-AA4C-806D65C46EBB}"/>
                  </a:ext>
                </a:extLst>
              </p:cNvPr>
              <p:cNvSpPr/>
              <p:nvPr/>
            </p:nvSpPr>
            <p:spPr>
              <a:xfrm>
                <a:off x="9896478" y="1398920"/>
                <a:ext cx="2299027" cy="261610"/>
              </a:xfrm>
              <a:prstGeom prst="rect">
                <a:avLst/>
              </a:prstGeom>
            </p:spPr>
            <p:txBody>
              <a:bodyPr wrap="none">
                <a:spAutoFit/>
              </a:bodyPr>
              <a:lstStyle/>
              <a:p>
                <a:pPr>
                  <a:spcAft>
                    <a:spcPts val="133"/>
                  </a:spcAft>
                </a:pPr>
                <a:r>
                  <a:rPr lang="en-US" sz="1100" b="1">
                    <a:cs typeface="Arial"/>
                  </a:rPr>
                  <a:t>Example - Cost </a:t>
                </a:r>
                <a:r>
                  <a:rPr lang="en-GB" sz="1100" b="1">
                    <a:cs typeface="Arial"/>
                  </a:rPr>
                  <a:t>(SAP) </a:t>
                </a:r>
                <a:r>
                  <a:rPr lang="en-US" sz="1100" b="1">
                    <a:cs typeface="Arial"/>
                  </a:rPr>
                  <a:t>hierarchy</a:t>
                </a:r>
              </a:p>
            </p:txBody>
          </p:sp>
        </p:grpSp>
        <p:sp>
          <p:nvSpPr>
            <p:cNvPr id="71" name="Rectangle 70">
              <a:extLst>
                <a:ext uri="{FF2B5EF4-FFF2-40B4-BE49-F238E27FC236}">
                  <a16:creationId xmlns:a16="http://schemas.microsoft.com/office/drawing/2014/main" id="{AD6B1864-2903-4F0A-9F80-17EADEEA12C1}"/>
                </a:ext>
              </a:extLst>
            </p:cNvPr>
            <p:cNvSpPr/>
            <p:nvPr/>
          </p:nvSpPr>
          <p:spPr bwMode="auto">
            <a:xfrm>
              <a:off x="10504515" y="5365462"/>
              <a:ext cx="1226275" cy="362137"/>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CNI</a:t>
              </a:r>
            </a:p>
          </p:txBody>
        </p:sp>
        <p:cxnSp>
          <p:nvCxnSpPr>
            <p:cNvPr id="72" name="Straight Connector 71">
              <a:extLst>
                <a:ext uri="{FF2B5EF4-FFF2-40B4-BE49-F238E27FC236}">
                  <a16:creationId xmlns:a16="http://schemas.microsoft.com/office/drawing/2014/main" id="{AEE10CB6-7D9C-41B9-BAD3-C7C5E0447807}"/>
                </a:ext>
              </a:extLst>
            </p:cNvPr>
            <p:cNvCxnSpPr/>
            <p:nvPr/>
          </p:nvCxnSpPr>
          <p:spPr bwMode="auto">
            <a:xfrm>
              <a:off x="11225512" y="5997879"/>
              <a:ext cx="344679"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76" name="Rectangle 75">
            <a:extLst>
              <a:ext uri="{FF2B5EF4-FFF2-40B4-BE49-F238E27FC236}">
                <a16:creationId xmlns:a16="http://schemas.microsoft.com/office/drawing/2014/main" id="{869AFC87-F223-4BAE-BECA-35C7227ED1C1}"/>
              </a:ext>
            </a:extLst>
          </p:cNvPr>
          <p:cNvSpPr/>
          <p:nvPr/>
        </p:nvSpPr>
        <p:spPr>
          <a:xfrm>
            <a:off x="8898913" y="1618520"/>
            <a:ext cx="702943" cy="5078313"/>
          </a:xfrm>
          <a:prstGeom prst="rect">
            <a:avLst/>
          </a:prstGeom>
        </p:spPr>
        <p:txBody>
          <a:bodyPr wrap="square">
            <a:spAutoFit/>
          </a:bodyPr>
          <a:lstStyle/>
          <a:p>
            <a:pPr algn="ctr"/>
            <a:r>
              <a:rPr lang="en-GB" sz="900" b="1"/>
              <a:t>686</a:t>
            </a:r>
          </a:p>
          <a:p>
            <a:pPr algn="ctr"/>
            <a:endParaRPr lang="en-GB" sz="900"/>
          </a:p>
          <a:p>
            <a:pPr algn="ctr"/>
            <a:endParaRPr lang="en-GB" sz="900"/>
          </a:p>
          <a:p>
            <a:pPr algn="ctr"/>
            <a:r>
              <a:rPr lang="en-GB" sz="900"/>
              <a:t>163</a:t>
            </a:r>
          </a:p>
          <a:p>
            <a:pPr algn="ctr"/>
            <a:endParaRPr lang="en-GB" sz="900"/>
          </a:p>
          <a:p>
            <a:pPr algn="ctr"/>
            <a:endParaRPr lang="en-GB" sz="900"/>
          </a:p>
          <a:p>
            <a:pPr algn="ctr"/>
            <a:endParaRPr lang="en-GB" sz="900"/>
          </a:p>
          <a:p>
            <a:pPr algn="ctr"/>
            <a:r>
              <a:rPr lang="en-GB" sz="900"/>
              <a:t>1</a:t>
            </a:r>
          </a:p>
          <a:p>
            <a:pPr algn="ctr"/>
            <a:endParaRPr lang="en-GB" sz="900"/>
          </a:p>
          <a:p>
            <a:pPr algn="ctr"/>
            <a:endParaRPr lang="en-GB" sz="900"/>
          </a:p>
          <a:p>
            <a:pPr algn="ctr"/>
            <a:r>
              <a:rPr lang="en-GB" sz="900"/>
              <a:t>20</a:t>
            </a:r>
          </a:p>
          <a:p>
            <a:pPr algn="ctr"/>
            <a:endParaRPr lang="en-GB" sz="900"/>
          </a:p>
          <a:p>
            <a:pPr algn="ctr"/>
            <a:endParaRPr lang="en-GB" sz="900"/>
          </a:p>
          <a:p>
            <a:pPr algn="ctr"/>
            <a:endParaRPr lang="en-GB" sz="900"/>
          </a:p>
          <a:p>
            <a:pPr algn="ctr"/>
            <a:r>
              <a:rPr lang="en-GB" sz="900"/>
              <a:t>121</a:t>
            </a:r>
          </a:p>
          <a:p>
            <a:pPr algn="ctr"/>
            <a:endParaRPr lang="en-GB" sz="900"/>
          </a:p>
          <a:p>
            <a:pPr algn="ctr"/>
            <a:endParaRPr lang="en-GB" sz="900"/>
          </a:p>
          <a:p>
            <a:pPr algn="ctr"/>
            <a:r>
              <a:rPr lang="en-GB" sz="900"/>
              <a:t>48</a:t>
            </a:r>
          </a:p>
          <a:p>
            <a:pPr algn="ctr"/>
            <a:endParaRPr lang="en-GB" sz="900"/>
          </a:p>
          <a:p>
            <a:pPr algn="ctr"/>
            <a:endParaRPr lang="en-GB" sz="900"/>
          </a:p>
          <a:p>
            <a:pPr algn="ctr"/>
            <a:r>
              <a:rPr lang="en-GB" sz="900"/>
              <a:t>13</a:t>
            </a:r>
          </a:p>
          <a:p>
            <a:pPr algn="ctr"/>
            <a:endParaRPr lang="en-GB" sz="900"/>
          </a:p>
          <a:p>
            <a:pPr algn="ctr"/>
            <a:endParaRPr lang="en-GB" sz="900"/>
          </a:p>
          <a:p>
            <a:pPr algn="ctr"/>
            <a:endParaRPr lang="en-GB" sz="900"/>
          </a:p>
          <a:p>
            <a:pPr algn="ctr"/>
            <a:r>
              <a:rPr lang="en-GB" sz="900"/>
              <a:t>124</a:t>
            </a:r>
          </a:p>
          <a:p>
            <a:pPr algn="ctr"/>
            <a:endParaRPr lang="en-GB" sz="900"/>
          </a:p>
          <a:p>
            <a:pPr algn="ctr"/>
            <a:endParaRPr lang="en-GB" sz="900"/>
          </a:p>
          <a:p>
            <a:pPr algn="ctr"/>
            <a:r>
              <a:rPr lang="en-GB" sz="900"/>
              <a:t>14</a:t>
            </a:r>
          </a:p>
          <a:p>
            <a:pPr algn="ctr"/>
            <a:endParaRPr lang="en-GB" sz="900"/>
          </a:p>
          <a:p>
            <a:pPr algn="ctr"/>
            <a:endParaRPr lang="en-GB" sz="900"/>
          </a:p>
          <a:p>
            <a:pPr algn="ctr"/>
            <a:endParaRPr lang="en-GB" sz="900"/>
          </a:p>
          <a:p>
            <a:pPr algn="ctr"/>
            <a:r>
              <a:rPr lang="en-GB" sz="900"/>
              <a:t>71</a:t>
            </a:r>
          </a:p>
          <a:p>
            <a:pPr algn="ctr"/>
            <a:endParaRPr lang="en-GB" sz="900"/>
          </a:p>
          <a:p>
            <a:pPr algn="ctr"/>
            <a:endParaRPr lang="en-GB" sz="900"/>
          </a:p>
          <a:p>
            <a:pPr algn="ctr"/>
            <a:r>
              <a:rPr lang="en-GB" sz="900"/>
              <a:t>86</a:t>
            </a:r>
          </a:p>
          <a:p>
            <a:pPr algn="ctr"/>
            <a:endParaRPr lang="en-GB" sz="900"/>
          </a:p>
        </p:txBody>
      </p:sp>
      <p:sp>
        <p:nvSpPr>
          <p:cNvPr id="79" name="Rectangle 78">
            <a:extLst>
              <a:ext uri="{FF2B5EF4-FFF2-40B4-BE49-F238E27FC236}">
                <a16:creationId xmlns:a16="http://schemas.microsoft.com/office/drawing/2014/main" id="{66175EAB-C987-4D4C-B5EE-0264117D6540}"/>
              </a:ext>
            </a:extLst>
          </p:cNvPr>
          <p:cNvSpPr/>
          <p:nvPr/>
        </p:nvSpPr>
        <p:spPr bwMode="auto">
          <a:xfrm>
            <a:off x="10238516" y="5741879"/>
            <a:ext cx="1226275" cy="362137"/>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750">
                <a:solidFill>
                  <a:schemeClr val="bg1"/>
                </a:solidFill>
                <a:cs typeface="Arial"/>
              </a:rPr>
              <a:t>I&amp;O Management</a:t>
            </a:r>
          </a:p>
        </p:txBody>
      </p:sp>
      <p:cxnSp>
        <p:nvCxnSpPr>
          <p:cNvPr id="80" name="Straight Connector 79">
            <a:extLst>
              <a:ext uri="{FF2B5EF4-FFF2-40B4-BE49-F238E27FC236}">
                <a16:creationId xmlns:a16="http://schemas.microsoft.com/office/drawing/2014/main" id="{A5A58BB9-1575-4940-84EE-F49AF8C500D8}"/>
              </a:ext>
            </a:extLst>
          </p:cNvPr>
          <p:cNvCxnSpPr/>
          <p:nvPr/>
        </p:nvCxnSpPr>
        <p:spPr bwMode="auto">
          <a:xfrm>
            <a:off x="9893837" y="5922947"/>
            <a:ext cx="344679"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Straight Connector 85">
            <a:extLst>
              <a:ext uri="{FF2B5EF4-FFF2-40B4-BE49-F238E27FC236}">
                <a16:creationId xmlns:a16="http://schemas.microsoft.com/office/drawing/2014/main" id="{CEC7C5E4-4299-49FA-B6D6-77B532C415A2}"/>
              </a:ext>
            </a:extLst>
          </p:cNvPr>
          <p:cNvCxnSpPr/>
          <p:nvPr/>
        </p:nvCxnSpPr>
        <p:spPr bwMode="auto">
          <a:xfrm>
            <a:off x="9893836" y="5438582"/>
            <a:ext cx="344679"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4" name="Rectangle 103">
            <a:extLst>
              <a:ext uri="{FF2B5EF4-FFF2-40B4-BE49-F238E27FC236}">
                <a16:creationId xmlns:a16="http://schemas.microsoft.com/office/drawing/2014/main" id="{236BA721-FD73-4684-8201-5D6FAD80EA81}"/>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
        <p:nvSpPr>
          <p:cNvPr id="61" name="Rectangle 60">
            <a:extLst>
              <a:ext uri="{FF2B5EF4-FFF2-40B4-BE49-F238E27FC236}">
                <a16:creationId xmlns:a16="http://schemas.microsoft.com/office/drawing/2014/main" id="{204E4A63-4517-4CCA-BBA3-3A2EE88642AE}"/>
              </a:ext>
            </a:extLst>
          </p:cNvPr>
          <p:cNvSpPr/>
          <p:nvPr/>
        </p:nvSpPr>
        <p:spPr>
          <a:xfrm>
            <a:off x="510907" y="5876181"/>
            <a:ext cx="6315152" cy="646331"/>
          </a:xfrm>
          <a:prstGeom prst="rect">
            <a:avLst/>
          </a:prstGeom>
          <a:solidFill>
            <a:srgbClr val="00148C"/>
          </a:solidFill>
        </p:spPr>
        <p:txBody>
          <a:bodyPr wrap="square">
            <a:spAutoFit/>
          </a:bodyPr>
          <a:lstStyle/>
          <a:p>
            <a:r>
              <a:rPr lang="en-GB" sz="1200" dirty="0">
                <a:solidFill>
                  <a:schemeClr val="bg1"/>
                </a:solidFill>
                <a:cs typeface="Arial"/>
              </a:rPr>
              <a:t>Workforce master data, data quality and a trusted source of HR reporting (Enterprise Data Platform) will help.  Downstream interface controls are required and improvements in report/data user training.</a:t>
            </a:r>
            <a:endParaRPr lang="en-GB" sz="1200" dirty="0">
              <a:solidFill>
                <a:schemeClr val="bg1"/>
              </a:solidFill>
            </a:endParaRPr>
          </a:p>
        </p:txBody>
      </p:sp>
      <p:sp>
        <p:nvSpPr>
          <p:cNvPr id="67" name="Rectangle 66">
            <a:extLst>
              <a:ext uri="{FF2B5EF4-FFF2-40B4-BE49-F238E27FC236}">
                <a16:creationId xmlns:a16="http://schemas.microsoft.com/office/drawing/2014/main" id="{BAF934F6-F47B-413B-AAB9-BC2563882104}"/>
              </a:ext>
            </a:extLst>
          </p:cNvPr>
          <p:cNvSpPr/>
          <p:nvPr/>
        </p:nvSpPr>
        <p:spPr>
          <a:xfrm>
            <a:off x="368817" y="5626061"/>
            <a:ext cx="945142" cy="276999"/>
          </a:xfrm>
          <a:prstGeom prst="rect">
            <a:avLst/>
          </a:prstGeom>
          <a:solidFill>
            <a:srgbClr val="00148C"/>
          </a:solidFill>
        </p:spPr>
        <p:txBody>
          <a:bodyPr wrap="square">
            <a:spAutoFit/>
          </a:bodyPr>
          <a:lstStyle/>
          <a:p>
            <a:r>
              <a:rPr lang="en-GB" sz="1200" dirty="0">
                <a:solidFill>
                  <a:schemeClr val="bg1"/>
                </a:solidFill>
                <a:cs typeface="Arial"/>
              </a:rPr>
              <a:t>Solutions:</a:t>
            </a:r>
            <a:endParaRPr lang="en-GB" sz="1200" dirty="0">
              <a:solidFill>
                <a:schemeClr val="bg1"/>
              </a:solidFill>
            </a:endParaRPr>
          </a:p>
        </p:txBody>
      </p:sp>
    </p:spTree>
    <p:extLst>
      <p:ext uri="{BB962C8B-B14F-4D97-AF65-F5344CB8AC3E}">
        <p14:creationId xmlns:p14="http://schemas.microsoft.com/office/powerpoint/2010/main" val="824225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5BFCB-E9C1-4307-B342-9F39692E355F}"/>
              </a:ext>
            </a:extLst>
          </p:cNvPr>
          <p:cNvSpPr>
            <a:spLocks noGrp="1"/>
          </p:cNvSpPr>
          <p:nvPr>
            <p:ph type="title"/>
          </p:nvPr>
        </p:nvSpPr>
        <p:spPr/>
        <p:txBody>
          <a:bodyPr/>
          <a:lstStyle/>
          <a:p>
            <a:r>
              <a:rPr lang="en-GB"/>
              <a:t>Workforce Data Improvements</a:t>
            </a:r>
          </a:p>
        </p:txBody>
      </p:sp>
      <p:sp>
        <p:nvSpPr>
          <p:cNvPr id="6" name="Rectangle 5">
            <a:extLst>
              <a:ext uri="{FF2B5EF4-FFF2-40B4-BE49-F238E27FC236}">
                <a16:creationId xmlns:a16="http://schemas.microsoft.com/office/drawing/2014/main" id="{A8827986-86D2-4F53-9F9A-1FE20F032AB0}"/>
              </a:ext>
            </a:extLst>
          </p:cNvPr>
          <p:cNvSpPr/>
          <p:nvPr/>
        </p:nvSpPr>
        <p:spPr>
          <a:xfrm>
            <a:off x="430373" y="832929"/>
            <a:ext cx="11222504" cy="584775"/>
          </a:xfrm>
          <a:prstGeom prst="rect">
            <a:avLst/>
          </a:prstGeom>
        </p:spPr>
        <p:txBody>
          <a:bodyPr wrap="square">
            <a:spAutoFit/>
          </a:bodyPr>
          <a:lstStyle/>
          <a:p>
            <a:pPr>
              <a:spcAft>
                <a:spcPts val="133"/>
              </a:spcAft>
            </a:pPr>
            <a:r>
              <a:rPr lang="en-GB" sz="1600">
                <a:solidFill>
                  <a:srgbClr val="00148C"/>
                </a:solidFill>
                <a:cs typeface="Arial"/>
              </a:rPr>
              <a:t>The Workforce Data Domain &amp; Global Workforce Tracking projects will deliver key products to address majority of these challenges; Single data repository, Master Data, DQ reporting, Data Governance and Data Insights</a:t>
            </a:r>
          </a:p>
        </p:txBody>
      </p:sp>
      <p:grpSp>
        <p:nvGrpSpPr>
          <p:cNvPr id="84" name="Group 83">
            <a:extLst>
              <a:ext uri="{FF2B5EF4-FFF2-40B4-BE49-F238E27FC236}">
                <a16:creationId xmlns:a16="http://schemas.microsoft.com/office/drawing/2014/main" id="{92BEFA6D-490D-4D7A-A13E-349B66C63BDD}"/>
              </a:ext>
            </a:extLst>
          </p:cNvPr>
          <p:cNvGrpSpPr/>
          <p:nvPr/>
        </p:nvGrpSpPr>
        <p:grpSpPr>
          <a:xfrm>
            <a:off x="427376" y="1523187"/>
            <a:ext cx="5063501" cy="4561108"/>
            <a:chOff x="3757814" y="1313909"/>
            <a:chExt cx="4940632" cy="4427016"/>
          </a:xfrm>
        </p:grpSpPr>
        <p:sp>
          <p:nvSpPr>
            <p:cNvPr id="7" name="Flowchart: Magnetic Disk 6">
              <a:extLst>
                <a:ext uri="{FF2B5EF4-FFF2-40B4-BE49-F238E27FC236}">
                  <a16:creationId xmlns:a16="http://schemas.microsoft.com/office/drawing/2014/main" id="{B81D1DD6-C411-4C17-91D7-583D53814FC5}"/>
                </a:ext>
              </a:extLst>
            </p:cNvPr>
            <p:cNvSpPr/>
            <p:nvPr/>
          </p:nvSpPr>
          <p:spPr bwMode="auto">
            <a:xfrm>
              <a:off x="4058821" y="2374472"/>
              <a:ext cx="843381" cy="454245"/>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err="1">
                  <a:solidFill>
                    <a:schemeClr val="bg1"/>
                  </a:solidFill>
                  <a:cs typeface="Arial"/>
                </a:rPr>
                <a:t>MyHub</a:t>
              </a:r>
              <a:endParaRPr lang="en-GB" sz="900" b="1">
                <a:solidFill>
                  <a:schemeClr val="bg1"/>
                </a:solidFill>
                <a:latin typeface="+mn-lt"/>
                <a:cs typeface="Arial"/>
              </a:endParaRPr>
            </a:p>
          </p:txBody>
        </p:sp>
        <p:pic>
          <p:nvPicPr>
            <p:cNvPr id="13" name="Graphic 12" descr="Group">
              <a:extLst>
                <a:ext uri="{FF2B5EF4-FFF2-40B4-BE49-F238E27FC236}">
                  <a16:creationId xmlns:a16="http://schemas.microsoft.com/office/drawing/2014/main" id="{B10EB891-95D6-4D93-92C0-783FF4218B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31541" y="1313909"/>
              <a:ext cx="863146" cy="864963"/>
            </a:xfrm>
            <a:prstGeom prst="rect">
              <a:avLst/>
            </a:prstGeom>
          </p:spPr>
        </p:pic>
        <p:sp>
          <p:nvSpPr>
            <p:cNvPr id="14" name="TextBox 13">
              <a:extLst>
                <a:ext uri="{FF2B5EF4-FFF2-40B4-BE49-F238E27FC236}">
                  <a16:creationId xmlns:a16="http://schemas.microsoft.com/office/drawing/2014/main" id="{2D58482B-4A81-4E34-BCAE-B57A1B5D6448}"/>
                </a:ext>
              </a:extLst>
            </p:cNvPr>
            <p:cNvSpPr txBox="1"/>
            <p:nvPr/>
          </p:nvSpPr>
          <p:spPr bwMode="auto">
            <a:xfrm>
              <a:off x="3757814" y="1985272"/>
              <a:ext cx="1430427" cy="358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kern="0"/>
                <a:t>Employees &amp; US Contingent Workers</a:t>
              </a:r>
              <a:endParaRPr lang="en-GB" sz="1200" b="0" kern="0">
                <a:solidFill>
                  <a:schemeClr val="tx1"/>
                </a:solidFill>
                <a:latin typeface="+mn-lt"/>
                <a:ea typeface="+mn-ea"/>
              </a:endParaRPr>
            </a:p>
          </p:txBody>
        </p:sp>
        <p:pic>
          <p:nvPicPr>
            <p:cNvPr id="15" name="Graphic 14" descr="Group">
              <a:extLst>
                <a:ext uri="{FF2B5EF4-FFF2-40B4-BE49-F238E27FC236}">
                  <a16:creationId xmlns:a16="http://schemas.microsoft.com/office/drawing/2014/main" id="{37F14CBE-6142-4383-9885-4B764EAB81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05637" y="1319091"/>
              <a:ext cx="863146" cy="864963"/>
            </a:xfrm>
            <a:prstGeom prst="rect">
              <a:avLst/>
            </a:prstGeom>
          </p:spPr>
        </p:pic>
        <p:sp>
          <p:nvSpPr>
            <p:cNvPr id="16" name="TextBox 15">
              <a:extLst>
                <a:ext uri="{FF2B5EF4-FFF2-40B4-BE49-F238E27FC236}">
                  <a16:creationId xmlns:a16="http://schemas.microsoft.com/office/drawing/2014/main" id="{FA97D08C-9744-49E5-A4EB-C6C631F8D1DD}"/>
                </a:ext>
              </a:extLst>
            </p:cNvPr>
            <p:cNvSpPr txBox="1"/>
            <p:nvPr/>
          </p:nvSpPr>
          <p:spPr bwMode="auto">
            <a:xfrm>
              <a:off x="5438514" y="2015483"/>
              <a:ext cx="863146" cy="358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chemeClr val="tx1"/>
                  </a:solidFill>
                  <a:latin typeface="+mn-lt"/>
                  <a:ea typeface="+mn-ea"/>
                </a:rPr>
                <a:t>Contingent Workers </a:t>
              </a:r>
            </a:p>
          </p:txBody>
        </p:sp>
        <p:pic>
          <p:nvPicPr>
            <p:cNvPr id="17" name="Graphic 16" descr="Group">
              <a:extLst>
                <a:ext uri="{FF2B5EF4-FFF2-40B4-BE49-F238E27FC236}">
                  <a16:creationId xmlns:a16="http://schemas.microsoft.com/office/drawing/2014/main" id="{95E33A98-911F-4E86-9560-82FF2CCE00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01181" y="1328952"/>
              <a:ext cx="863146" cy="864963"/>
            </a:xfrm>
            <a:prstGeom prst="rect">
              <a:avLst/>
            </a:prstGeom>
          </p:spPr>
        </p:pic>
        <p:sp>
          <p:nvSpPr>
            <p:cNvPr id="18" name="TextBox 17">
              <a:extLst>
                <a:ext uri="{FF2B5EF4-FFF2-40B4-BE49-F238E27FC236}">
                  <a16:creationId xmlns:a16="http://schemas.microsoft.com/office/drawing/2014/main" id="{3F0161EC-E41B-401D-8238-DFE9CDF9FE2B}"/>
                </a:ext>
              </a:extLst>
            </p:cNvPr>
            <p:cNvSpPr txBox="1"/>
            <p:nvPr/>
          </p:nvSpPr>
          <p:spPr bwMode="auto">
            <a:xfrm>
              <a:off x="7553712" y="2041494"/>
              <a:ext cx="387367" cy="17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1200" kern="0"/>
                <a:t>MSPs</a:t>
              </a:r>
              <a:endParaRPr lang="en-GB" sz="1200" b="0" kern="0">
                <a:solidFill>
                  <a:schemeClr val="tx1"/>
                </a:solidFill>
                <a:latin typeface="+mn-lt"/>
                <a:ea typeface="+mn-ea"/>
              </a:endParaRPr>
            </a:p>
          </p:txBody>
        </p:sp>
        <p:cxnSp>
          <p:nvCxnSpPr>
            <p:cNvPr id="44" name="Straight Connector 43">
              <a:extLst>
                <a:ext uri="{FF2B5EF4-FFF2-40B4-BE49-F238E27FC236}">
                  <a16:creationId xmlns:a16="http://schemas.microsoft.com/office/drawing/2014/main" id="{9DB6647F-8EF8-4885-82D3-8576E4BF452F}"/>
                </a:ext>
              </a:extLst>
            </p:cNvPr>
            <p:cNvCxnSpPr>
              <a:cxnSpLocks/>
              <a:stCxn id="50" idx="3"/>
              <a:endCxn id="22" idx="0"/>
            </p:cNvCxnSpPr>
            <p:nvPr/>
          </p:nvCxnSpPr>
          <p:spPr bwMode="auto">
            <a:xfrm>
              <a:off x="6201248" y="4405765"/>
              <a:ext cx="644301" cy="699397"/>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a:extLst>
                <a:ext uri="{FF2B5EF4-FFF2-40B4-BE49-F238E27FC236}">
                  <a16:creationId xmlns:a16="http://schemas.microsoft.com/office/drawing/2014/main" id="{99D8C763-55FD-4D01-AD8B-B337C25940B9}"/>
                </a:ext>
              </a:extLst>
            </p:cNvPr>
            <p:cNvCxnSpPr>
              <a:cxnSpLocks/>
              <a:stCxn id="50" idx="3"/>
              <a:endCxn id="36" idx="0"/>
            </p:cNvCxnSpPr>
            <p:nvPr/>
          </p:nvCxnSpPr>
          <p:spPr bwMode="auto">
            <a:xfrm flipH="1">
              <a:off x="5031158" y="4405765"/>
              <a:ext cx="1170090" cy="51501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C4560087-C750-4BFC-BCDB-75D004E7EA8F}"/>
                </a:ext>
              </a:extLst>
            </p:cNvPr>
            <p:cNvCxnSpPr>
              <a:cxnSpLocks/>
              <a:stCxn id="50" idx="3"/>
              <a:endCxn id="35" idx="3"/>
            </p:cNvCxnSpPr>
            <p:nvPr/>
          </p:nvCxnSpPr>
          <p:spPr bwMode="auto">
            <a:xfrm flipH="1">
              <a:off x="4569713" y="4405765"/>
              <a:ext cx="1631535" cy="39915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85A3428F-302B-41C4-B1C3-9D6ADAB97124}"/>
                </a:ext>
              </a:extLst>
            </p:cNvPr>
            <p:cNvCxnSpPr>
              <a:cxnSpLocks/>
              <a:stCxn id="50" idx="3"/>
              <a:endCxn id="34" idx="0"/>
            </p:cNvCxnSpPr>
            <p:nvPr/>
          </p:nvCxnSpPr>
          <p:spPr bwMode="auto">
            <a:xfrm flipH="1">
              <a:off x="5904742" y="4405765"/>
              <a:ext cx="296506" cy="71627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Graphic 21" descr="Document">
              <a:extLst>
                <a:ext uri="{FF2B5EF4-FFF2-40B4-BE49-F238E27FC236}">
                  <a16:creationId xmlns:a16="http://schemas.microsoft.com/office/drawing/2014/main" id="{7DFEB34F-E7F9-4B1F-8FF9-F26386A651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61553" y="5105162"/>
              <a:ext cx="367991" cy="368766"/>
            </a:xfrm>
            <a:prstGeom prst="rect">
              <a:avLst/>
            </a:prstGeom>
          </p:spPr>
        </p:pic>
        <p:pic>
          <p:nvPicPr>
            <p:cNvPr id="31" name="Graphic 30" descr="Paper">
              <a:extLst>
                <a:ext uri="{FF2B5EF4-FFF2-40B4-BE49-F238E27FC236}">
                  <a16:creationId xmlns:a16="http://schemas.microsoft.com/office/drawing/2014/main" id="{511157CD-C0A5-4379-8F39-1484F808CA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95211" y="4900561"/>
              <a:ext cx="367991" cy="368766"/>
            </a:xfrm>
            <a:prstGeom prst="rect">
              <a:avLst/>
            </a:prstGeom>
          </p:spPr>
        </p:pic>
        <p:pic>
          <p:nvPicPr>
            <p:cNvPr id="33" name="Graphic 32" descr="Bar chart RTL">
              <a:extLst>
                <a:ext uri="{FF2B5EF4-FFF2-40B4-BE49-F238E27FC236}">
                  <a16:creationId xmlns:a16="http://schemas.microsoft.com/office/drawing/2014/main" id="{4C31B69E-DED8-4EB7-B15C-C289A8B3D05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67459" y="4675939"/>
              <a:ext cx="367991" cy="368766"/>
            </a:xfrm>
            <a:prstGeom prst="rect">
              <a:avLst/>
            </a:prstGeom>
          </p:spPr>
        </p:pic>
        <p:pic>
          <p:nvPicPr>
            <p:cNvPr id="34" name="Graphic 33" descr="Statistics">
              <a:extLst>
                <a:ext uri="{FF2B5EF4-FFF2-40B4-BE49-F238E27FC236}">
                  <a16:creationId xmlns:a16="http://schemas.microsoft.com/office/drawing/2014/main" id="{74A55E36-7953-4B5D-9438-9BA3D943398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20746" y="5122043"/>
              <a:ext cx="367991" cy="368766"/>
            </a:xfrm>
            <a:prstGeom prst="rect">
              <a:avLst/>
            </a:prstGeom>
          </p:spPr>
        </p:pic>
        <p:pic>
          <p:nvPicPr>
            <p:cNvPr id="35" name="Graphic 34" descr="Pie chart">
              <a:extLst>
                <a:ext uri="{FF2B5EF4-FFF2-40B4-BE49-F238E27FC236}">
                  <a16:creationId xmlns:a16="http://schemas.microsoft.com/office/drawing/2014/main" id="{682F0EBD-EC5E-491F-B236-AC579934063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01722" y="4620532"/>
              <a:ext cx="367991" cy="368766"/>
            </a:xfrm>
            <a:prstGeom prst="rect">
              <a:avLst/>
            </a:prstGeom>
          </p:spPr>
        </p:pic>
        <p:pic>
          <p:nvPicPr>
            <p:cNvPr id="36" name="Graphic 35" descr="Venn diagram">
              <a:extLst>
                <a:ext uri="{FF2B5EF4-FFF2-40B4-BE49-F238E27FC236}">
                  <a16:creationId xmlns:a16="http://schemas.microsoft.com/office/drawing/2014/main" id="{5849FCC3-DB68-4719-A1A7-965CAC38123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847162" y="4920779"/>
              <a:ext cx="367991" cy="368766"/>
            </a:xfrm>
            <a:prstGeom prst="rect">
              <a:avLst/>
            </a:prstGeom>
          </p:spPr>
        </p:pic>
        <p:cxnSp>
          <p:nvCxnSpPr>
            <p:cNvPr id="144" name="Straight Connector 143">
              <a:extLst>
                <a:ext uri="{FF2B5EF4-FFF2-40B4-BE49-F238E27FC236}">
                  <a16:creationId xmlns:a16="http://schemas.microsoft.com/office/drawing/2014/main" id="{AD9D06BB-772C-40B6-9234-A1BF1FEF1B05}"/>
                </a:ext>
              </a:extLst>
            </p:cNvPr>
            <p:cNvCxnSpPr>
              <a:cxnSpLocks/>
              <a:stCxn id="50" idx="3"/>
              <a:endCxn id="31" idx="0"/>
            </p:cNvCxnSpPr>
            <p:nvPr/>
          </p:nvCxnSpPr>
          <p:spPr bwMode="auto">
            <a:xfrm>
              <a:off x="6201248" y="4405765"/>
              <a:ext cx="1477959" cy="494796"/>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Straight Connector 148">
              <a:extLst>
                <a:ext uri="{FF2B5EF4-FFF2-40B4-BE49-F238E27FC236}">
                  <a16:creationId xmlns:a16="http://schemas.microsoft.com/office/drawing/2014/main" id="{6E0D1F6B-61D0-41D0-A511-EFB8201843AB}"/>
                </a:ext>
              </a:extLst>
            </p:cNvPr>
            <p:cNvCxnSpPr>
              <a:cxnSpLocks/>
              <a:stCxn id="50" idx="3"/>
            </p:cNvCxnSpPr>
            <p:nvPr/>
          </p:nvCxnSpPr>
          <p:spPr bwMode="auto">
            <a:xfrm>
              <a:off x="6201248" y="4405765"/>
              <a:ext cx="1911071" cy="39915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7" name="Rectangle 156">
              <a:extLst>
                <a:ext uri="{FF2B5EF4-FFF2-40B4-BE49-F238E27FC236}">
                  <a16:creationId xmlns:a16="http://schemas.microsoft.com/office/drawing/2014/main" id="{4D989F79-00DF-4B6A-8324-EC1775EB9DC5}"/>
                </a:ext>
              </a:extLst>
            </p:cNvPr>
            <p:cNvSpPr/>
            <p:nvPr/>
          </p:nvSpPr>
          <p:spPr bwMode="auto">
            <a:xfrm>
              <a:off x="3807143" y="1417705"/>
              <a:ext cx="4891303" cy="4323220"/>
            </a:xfrm>
            <a:prstGeom prst="rect">
              <a:avLst/>
            </a:prstGeom>
            <a:no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0" name="Flowchart: Magnetic Disk 49">
              <a:extLst>
                <a:ext uri="{FF2B5EF4-FFF2-40B4-BE49-F238E27FC236}">
                  <a16:creationId xmlns:a16="http://schemas.microsoft.com/office/drawing/2014/main" id="{1719E35C-3C5E-498D-BFF1-C0D9604E52C1}"/>
                </a:ext>
              </a:extLst>
            </p:cNvPr>
            <p:cNvSpPr/>
            <p:nvPr/>
          </p:nvSpPr>
          <p:spPr bwMode="auto">
            <a:xfrm>
              <a:off x="5768136" y="3926468"/>
              <a:ext cx="866223" cy="479297"/>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cs typeface="Arial"/>
                </a:rPr>
                <a:t>C</a:t>
              </a:r>
              <a:r>
                <a:rPr lang="en-GB" sz="900" b="1">
                  <a:solidFill>
                    <a:schemeClr val="bg1"/>
                  </a:solidFill>
                  <a:latin typeface="+mn-lt"/>
                  <a:cs typeface="Arial"/>
                </a:rPr>
                <a:t>DP</a:t>
              </a:r>
            </a:p>
          </p:txBody>
        </p:sp>
        <p:sp>
          <p:nvSpPr>
            <p:cNvPr id="3" name="Rectangle 2">
              <a:extLst>
                <a:ext uri="{FF2B5EF4-FFF2-40B4-BE49-F238E27FC236}">
                  <a16:creationId xmlns:a16="http://schemas.microsoft.com/office/drawing/2014/main" id="{13511EC8-2AC3-49C3-A460-BD22D7D5F006}"/>
                </a:ext>
              </a:extLst>
            </p:cNvPr>
            <p:cNvSpPr/>
            <p:nvPr/>
          </p:nvSpPr>
          <p:spPr bwMode="auto">
            <a:xfrm>
              <a:off x="5031158" y="3414206"/>
              <a:ext cx="2343686" cy="360000"/>
            </a:xfrm>
            <a:prstGeom prst="rect">
              <a:avLst/>
            </a:prstGeom>
            <a:solidFill>
              <a:schemeClr val="tx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a:spcAft>
                  <a:spcPts val="450"/>
                </a:spcAft>
              </a:pPr>
              <a:r>
                <a:rPr lang="en-GB" sz="1050" b="1">
                  <a:solidFill>
                    <a:schemeClr val="bg1"/>
                  </a:solidFill>
                  <a:cs typeface="Arial"/>
                </a:rPr>
                <a:t>Master Data</a:t>
              </a:r>
            </a:p>
          </p:txBody>
        </p:sp>
        <p:sp>
          <p:nvSpPr>
            <p:cNvPr id="52" name="Rectangle 51">
              <a:extLst>
                <a:ext uri="{FF2B5EF4-FFF2-40B4-BE49-F238E27FC236}">
                  <a16:creationId xmlns:a16="http://schemas.microsoft.com/office/drawing/2014/main" id="{53BECFD7-BE99-4BE0-AED7-A8F7EA690E32}"/>
                </a:ext>
              </a:extLst>
            </p:cNvPr>
            <p:cNvSpPr/>
            <p:nvPr/>
          </p:nvSpPr>
          <p:spPr bwMode="auto">
            <a:xfrm>
              <a:off x="6702822" y="3986150"/>
              <a:ext cx="1033236" cy="360000"/>
            </a:xfrm>
            <a:prstGeom prst="rect">
              <a:avLst/>
            </a:prstGeom>
            <a:solidFill>
              <a:schemeClr val="tx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a:spcAft>
                  <a:spcPts val="450"/>
                </a:spcAft>
              </a:pPr>
              <a:r>
                <a:rPr lang="en-GB" sz="1050" b="1">
                  <a:solidFill>
                    <a:schemeClr val="bg1"/>
                  </a:solidFill>
                  <a:cs typeface="Arial"/>
                </a:rPr>
                <a:t>Data Management</a:t>
              </a:r>
            </a:p>
          </p:txBody>
        </p:sp>
        <p:cxnSp>
          <p:nvCxnSpPr>
            <p:cNvPr id="53" name="Straight Connector 52">
              <a:extLst>
                <a:ext uri="{FF2B5EF4-FFF2-40B4-BE49-F238E27FC236}">
                  <a16:creationId xmlns:a16="http://schemas.microsoft.com/office/drawing/2014/main" id="{14A76C7F-2F5F-49C1-9C54-E8E9A9D9A810}"/>
                </a:ext>
              </a:extLst>
            </p:cNvPr>
            <p:cNvCxnSpPr>
              <a:cxnSpLocks/>
              <a:stCxn id="7" idx="3"/>
              <a:endCxn id="3" idx="0"/>
            </p:cNvCxnSpPr>
            <p:nvPr/>
          </p:nvCxnSpPr>
          <p:spPr bwMode="auto">
            <a:xfrm>
              <a:off x="4480512" y="2828717"/>
              <a:ext cx="1722489" cy="58549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a:extLst>
                <a:ext uri="{FF2B5EF4-FFF2-40B4-BE49-F238E27FC236}">
                  <a16:creationId xmlns:a16="http://schemas.microsoft.com/office/drawing/2014/main" id="{915A776D-6990-4111-9EF0-AE6675CE10A2}"/>
                </a:ext>
              </a:extLst>
            </p:cNvPr>
            <p:cNvCxnSpPr>
              <a:cxnSpLocks/>
              <a:stCxn id="50" idx="1"/>
              <a:endCxn id="3" idx="2"/>
            </p:cNvCxnSpPr>
            <p:nvPr/>
          </p:nvCxnSpPr>
          <p:spPr bwMode="auto">
            <a:xfrm flipV="1">
              <a:off x="6201248" y="3774206"/>
              <a:ext cx="1753" cy="15226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 name="Rectangle 24">
            <a:extLst>
              <a:ext uri="{FF2B5EF4-FFF2-40B4-BE49-F238E27FC236}">
                <a16:creationId xmlns:a16="http://schemas.microsoft.com/office/drawing/2014/main" id="{DBF90DF7-3826-47CC-A7F8-09E55E9AF6F9}"/>
              </a:ext>
            </a:extLst>
          </p:cNvPr>
          <p:cNvSpPr/>
          <p:nvPr/>
        </p:nvSpPr>
        <p:spPr>
          <a:xfrm>
            <a:off x="4498034" y="4166386"/>
            <a:ext cx="1045479" cy="584775"/>
          </a:xfrm>
          <a:prstGeom prst="rect">
            <a:avLst/>
          </a:prstGeom>
        </p:spPr>
        <p:txBody>
          <a:bodyPr wrap="none">
            <a:spAutoFit/>
          </a:bodyPr>
          <a:lstStyle/>
          <a:p>
            <a:pPr marL="171450" indent="-171450">
              <a:buFont typeface="Arial" panose="020B0604020202020204" pitchFamily="34" charset="0"/>
              <a:buChar char="•"/>
            </a:pPr>
            <a:r>
              <a:rPr lang="en-GB" sz="800" kern="0"/>
              <a:t>Glossary</a:t>
            </a:r>
          </a:p>
          <a:p>
            <a:pPr marL="171450" indent="-171450">
              <a:buFont typeface="Arial" panose="020B0604020202020204" pitchFamily="34" charset="0"/>
              <a:buChar char="•"/>
            </a:pPr>
            <a:r>
              <a:rPr lang="en-GB" sz="800" kern="0"/>
              <a:t>Catalogue</a:t>
            </a:r>
          </a:p>
          <a:p>
            <a:pPr marL="171450" indent="-171450">
              <a:buFont typeface="Arial" panose="020B0604020202020204" pitchFamily="34" charset="0"/>
              <a:buChar char="•"/>
            </a:pPr>
            <a:r>
              <a:rPr lang="en-GB" sz="800" kern="0"/>
              <a:t>Data Quality</a:t>
            </a:r>
          </a:p>
          <a:p>
            <a:pPr marL="171450" indent="-171450">
              <a:buFont typeface="Arial" panose="020B0604020202020204" pitchFamily="34" charset="0"/>
              <a:buChar char="•"/>
            </a:pPr>
            <a:r>
              <a:rPr lang="en-GB" sz="800" kern="0"/>
              <a:t>Data Modelling</a:t>
            </a:r>
          </a:p>
        </p:txBody>
      </p:sp>
      <p:sp>
        <p:nvSpPr>
          <p:cNvPr id="48" name="Rectangle 47">
            <a:extLst>
              <a:ext uri="{FF2B5EF4-FFF2-40B4-BE49-F238E27FC236}">
                <a16:creationId xmlns:a16="http://schemas.microsoft.com/office/drawing/2014/main" id="{28391F68-6387-4DCD-B28C-C66AC17B59E1}"/>
              </a:ext>
            </a:extLst>
          </p:cNvPr>
          <p:cNvSpPr/>
          <p:nvPr/>
        </p:nvSpPr>
        <p:spPr>
          <a:xfrm>
            <a:off x="5747374" y="1625724"/>
            <a:ext cx="6115809" cy="1264449"/>
          </a:xfrm>
          <a:prstGeom prst="rect">
            <a:avLst/>
          </a:prstGeom>
          <a:solidFill>
            <a:srgbClr val="00148C"/>
          </a:solidFill>
        </p:spPr>
        <p:txBody>
          <a:bodyPr wrap="square">
            <a:spAutoFit/>
          </a:bodyPr>
          <a:lstStyle/>
          <a:p>
            <a:pPr>
              <a:spcAft>
                <a:spcPts val="133"/>
              </a:spcAft>
            </a:pPr>
            <a:r>
              <a:rPr lang="en-US" sz="1200" b="1" dirty="0">
                <a:solidFill>
                  <a:schemeClr val="bg1"/>
                </a:solidFill>
                <a:cs typeface="Arial"/>
              </a:rPr>
              <a:t>Additional Support Required:</a:t>
            </a:r>
          </a:p>
          <a:p>
            <a:pPr>
              <a:spcAft>
                <a:spcPts val="133"/>
              </a:spcAft>
            </a:pPr>
            <a:endParaRPr lang="en-US" sz="1200" b="1" dirty="0">
              <a:solidFill>
                <a:schemeClr val="bg1"/>
              </a:solidFill>
              <a:cs typeface="Arial"/>
            </a:endParaRPr>
          </a:p>
          <a:p>
            <a:pPr marL="171450" indent="-171450">
              <a:spcAft>
                <a:spcPts val="133"/>
              </a:spcAft>
              <a:buFont typeface="Arial" panose="020B0604020202020204" pitchFamily="34" charset="0"/>
              <a:buChar char="•"/>
            </a:pPr>
            <a:r>
              <a:rPr lang="en-GB" sz="1200" dirty="0">
                <a:solidFill>
                  <a:schemeClr val="bg1"/>
                </a:solidFill>
                <a:cs typeface="Arial"/>
              </a:rPr>
              <a:t>Data Ownership and Governance needs ongoing sponsorship</a:t>
            </a:r>
          </a:p>
          <a:p>
            <a:pPr marL="171450" indent="-171450">
              <a:spcAft>
                <a:spcPts val="133"/>
              </a:spcAft>
              <a:buFont typeface="Arial" panose="020B0604020202020204" pitchFamily="34" charset="0"/>
              <a:buChar char="•"/>
            </a:pPr>
            <a:r>
              <a:rPr lang="en-GB" sz="1200" dirty="0">
                <a:solidFill>
                  <a:schemeClr val="bg1"/>
                </a:solidFill>
                <a:cs typeface="Arial"/>
              </a:rPr>
              <a:t>Wider Enterprise approach to raise reporting/data understanding</a:t>
            </a:r>
          </a:p>
          <a:p>
            <a:pPr marL="171450" indent="-171450">
              <a:spcAft>
                <a:spcPts val="133"/>
              </a:spcAft>
              <a:buFont typeface="Arial" panose="020B0604020202020204" pitchFamily="34" charset="0"/>
              <a:buChar char="•"/>
            </a:pPr>
            <a:r>
              <a:rPr lang="en-GB" sz="1200" dirty="0">
                <a:solidFill>
                  <a:schemeClr val="bg1"/>
                </a:solidFill>
                <a:cs typeface="Arial"/>
              </a:rPr>
              <a:t>Process re-engineering to support data quality improvements at point of capture</a:t>
            </a:r>
          </a:p>
          <a:p>
            <a:pPr marL="171450" indent="-171450">
              <a:spcAft>
                <a:spcPts val="133"/>
              </a:spcAft>
              <a:buFont typeface="Arial" panose="020B0604020202020204" pitchFamily="34" charset="0"/>
              <a:buChar char="•"/>
            </a:pPr>
            <a:r>
              <a:rPr lang="en-GB" sz="1200" dirty="0">
                <a:solidFill>
                  <a:schemeClr val="bg1"/>
                </a:solidFill>
                <a:cs typeface="Arial"/>
              </a:rPr>
              <a:t>Incentivise Data </a:t>
            </a:r>
            <a:r>
              <a:rPr lang="en-GB" sz="1200">
                <a:solidFill>
                  <a:schemeClr val="bg1"/>
                </a:solidFill>
                <a:cs typeface="Arial"/>
              </a:rPr>
              <a:t>Stewards to </a:t>
            </a:r>
            <a:r>
              <a:rPr lang="en-GB" sz="1200" dirty="0">
                <a:solidFill>
                  <a:schemeClr val="bg1"/>
                </a:solidFill>
                <a:cs typeface="Arial"/>
              </a:rPr>
              <a:t>work on data quality initiatives</a:t>
            </a:r>
            <a:endParaRPr lang="en-US" sz="1200" dirty="0">
              <a:solidFill>
                <a:schemeClr val="bg1"/>
              </a:solidFill>
              <a:cs typeface="Arial"/>
            </a:endParaRPr>
          </a:p>
        </p:txBody>
      </p:sp>
      <p:sp>
        <p:nvSpPr>
          <p:cNvPr id="42" name="Rectangle 41">
            <a:extLst>
              <a:ext uri="{FF2B5EF4-FFF2-40B4-BE49-F238E27FC236}">
                <a16:creationId xmlns:a16="http://schemas.microsoft.com/office/drawing/2014/main" id="{4885A463-D082-4D24-8EF6-0DAED8EB2A7C}"/>
              </a:ext>
            </a:extLst>
          </p:cNvPr>
          <p:cNvSpPr/>
          <p:nvPr/>
        </p:nvSpPr>
        <p:spPr>
          <a:xfrm>
            <a:off x="4124799" y="3698847"/>
            <a:ext cx="1366080" cy="338554"/>
          </a:xfrm>
          <a:prstGeom prst="rect">
            <a:avLst/>
          </a:prstGeom>
        </p:spPr>
        <p:txBody>
          <a:bodyPr wrap="none">
            <a:spAutoFit/>
          </a:bodyPr>
          <a:lstStyle/>
          <a:p>
            <a:pPr marL="171450" indent="-171450">
              <a:buFont typeface="Arial" panose="020B0604020202020204" pitchFamily="34" charset="0"/>
              <a:buChar char="•"/>
            </a:pPr>
            <a:r>
              <a:rPr lang="en-GB" sz="800" kern="0"/>
              <a:t>Golden Record</a:t>
            </a:r>
          </a:p>
          <a:p>
            <a:pPr marL="171450" indent="-171450">
              <a:buFont typeface="Arial" panose="020B0604020202020204" pitchFamily="34" charset="0"/>
              <a:buChar char="•"/>
            </a:pPr>
            <a:r>
              <a:rPr lang="en-GB" sz="800" kern="0"/>
              <a:t>Policies &amp; Procedures</a:t>
            </a:r>
            <a:endParaRPr lang="en-GB" sz="800"/>
          </a:p>
        </p:txBody>
      </p:sp>
      <p:sp>
        <p:nvSpPr>
          <p:cNvPr id="66" name="Flowchart: Magnetic Disk 65">
            <a:extLst>
              <a:ext uri="{FF2B5EF4-FFF2-40B4-BE49-F238E27FC236}">
                <a16:creationId xmlns:a16="http://schemas.microsoft.com/office/drawing/2014/main" id="{442174CD-7D1C-4D0F-8E20-31E2BD0D447C}"/>
              </a:ext>
            </a:extLst>
          </p:cNvPr>
          <p:cNvSpPr/>
          <p:nvPr/>
        </p:nvSpPr>
        <p:spPr bwMode="auto">
          <a:xfrm>
            <a:off x="4682389" y="2568644"/>
            <a:ext cx="734602" cy="468250"/>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latin typeface="+mn-lt"/>
                <a:cs typeface="Arial"/>
              </a:rPr>
              <a:t>SAP ECC (US)</a:t>
            </a:r>
          </a:p>
        </p:txBody>
      </p:sp>
      <p:pic>
        <p:nvPicPr>
          <p:cNvPr id="68" name="Picture 67">
            <a:extLst>
              <a:ext uri="{FF2B5EF4-FFF2-40B4-BE49-F238E27FC236}">
                <a16:creationId xmlns:a16="http://schemas.microsoft.com/office/drawing/2014/main" id="{933E4C63-FF4D-4F97-9431-DF06370E455F}"/>
              </a:ext>
            </a:extLst>
          </p:cNvPr>
          <p:cNvPicPr>
            <a:picLocks noChangeAspect="1"/>
          </p:cNvPicPr>
          <p:nvPr/>
        </p:nvPicPr>
        <p:blipFill>
          <a:blip r:embed="rId17"/>
          <a:stretch>
            <a:fillRect/>
          </a:stretch>
        </p:blipFill>
        <p:spPr>
          <a:xfrm>
            <a:off x="1930127" y="2621086"/>
            <a:ext cx="505890" cy="468004"/>
          </a:xfrm>
          <a:prstGeom prst="rect">
            <a:avLst/>
          </a:prstGeom>
        </p:spPr>
      </p:pic>
      <p:sp>
        <p:nvSpPr>
          <p:cNvPr id="71" name="Flowchart: Magnetic Disk 70">
            <a:extLst>
              <a:ext uri="{FF2B5EF4-FFF2-40B4-BE49-F238E27FC236}">
                <a16:creationId xmlns:a16="http://schemas.microsoft.com/office/drawing/2014/main" id="{C5DBA4DC-0EBA-488F-930C-D51D781C0621}"/>
              </a:ext>
            </a:extLst>
          </p:cNvPr>
          <p:cNvSpPr/>
          <p:nvPr/>
        </p:nvSpPr>
        <p:spPr bwMode="auto">
          <a:xfrm>
            <a:off x="2563224" y="2610468"/>
            <a:ext cx="709606" cy="468250"/>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latin typeface="+mn-lt"/>
                <a:cs typeface="Arial"/>
              </a:rPr>
              <a:t>SAP ECC (UK)</a:t>
            </a:r>
          </a:p>
        </p:txBody>
      </p:sp>
      <p:sp>
        <p:nvSpPr>
          <p:cNvPr id="73" name="Flowchart: Magnetic Disk 72">
            <a:extLst>
              <a:ext uri="{FF2B5EF4-FFF2-40B4-BE49-F238E27FC236}">
                <a16:creationId xmlns:a16="http://schemas.microsoft.com/office/drawing/2014/main" id="{875817E6-969E-4D7A-AE00-4212FF99A5B3}"/>
              </a:ext>
            </a:extLst>
          </p:cNvPr>
          <p:cNvSpPr/>
          <p:nvPr/>
        </p:nvSpPr>
        <p:spPr bwMode="auto">
          <a:xfrm>
            <a:off x="3995419" y="2583754"/>
            <a:ext cx="633751" cy="468250"/>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a:solidFill>
                  <a:schemeClr val="bg1"/>
                </a:solidFill>
                <a:latin typeface="+mn-lt"/>
                <a:cs typeface="Arial"/>
              </a:rPr>
              <a:t>ACG (UK)</a:t>
            </a:r>
          </a:p>
        </p:txBody>
      </p:sp>
      <p:sp>
        <p:nvSpPr>
          <p:cNvPr id="67" name="Flowchart: Magnetic Disk 66">
            <a:extLst>
              <a:ext uri="{FF2B5EF4-FFF2-40B4-BE49-F238E27FC236}">
                <a16:creationId xmlns:a16="http://schemas.microsoft.com/office/drawing/2014/main" id="{AB310C7E-A0DA-4F35-A2D2-D0BC1B2D9DF6}"/>
              </a:ext>
            </a:extLst>
          </p:cNvPr>
          <p:cNvSpPr/>
          <p:nvPr/>
        </p:nvSpPr>
        <p:spPr bwMode="auto">
          <a:xfrm>
            <a:off x="3252692" y="3051205"/>
            <a:ext cx="900084" cy="468250"/>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GB" sz="900" b="1" err="1">
                <a:solidFill>
                  <a:schemeClr val="bg1"/>
                </a:solidFill>
                <a:latin typeface="+mn-lt"/>
                <a:cs typeface="Arial"/>
              </a:rPr>
              <a:t>FieldGlass</a:t>
            </a:r>
            <a:endParaRPr lang="en-GB" sz="900" b="1">
              <a:solidFill>
                <a:schemeClr val="bg1"/>
              </a:solidFill>
              <a:latin typeface="+mn-lt"/>
              <a:cs typeface="Arial"/>
            </a:endParaRPr>
          </a:p>
        </p:txBody>
      </p:sp>
      <p:pic>
        <p:nvPicPr>
          <p:cNvPr id="41" name="Graphic 40" descr="Close">
            <a:extLst>
              <a:ext uri="{FF2B5EF4-FFF2-40B4-BE49-F238E27FC236}">
                <a16:creationId xmlns:a16="http://schemas.microsoft.com/office/drawing/2014/main" id="{2CA547C3-4233-494F-9918-95167F8738F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90959" y="2533749"/>
            <a:ext cx="668342" cy="668342"/>
          </a:xfrm>
          <a:prstGeom prst="rect">
            <a:avLst/>
          </a:prstGeom>
        </p:spPr>
      </p:pic>
      <p:pic>
        <p:nvPicPr>
          <p:cNvPr id="75" name="Graphic 74" descr="Close">
            <a:extLst>
              <a:ext uri="{FF2B5EF4-FFF2-40B4-BE49-F238E27FC236}">
                <a16:creationId xmlns:a16="http://schemas.microsoft.com/office/drawing/2014/main" id="{E768AA9F-DCE7-4C3E-BEAB-55EF393F23A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40642" y="2497442"/>
            <a:ext cx="668342" cy="668342"/>
          </a:xfrm>
          <a:prstGeom prst="rect">
            <a:avLst/>
          </a:prstGeom>
        </p:spPr>
      </p:pic>
      <p:pic>
        <p:nvPicPr>
          <p:cNvPr id="76" name="Graphic 75" descr="Close">
            <a:extLst>
              <a:ext uri="{FF2B5EF4-FFF2-40B4-BE49-F238E27FC236}">
                <a16:creationId xmlns:a16="http://schemas.microsoft.com/office/drawing/2014/main" id="{94007FB8-AC5B-4118-880C-F01EC9580F1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64285" y="2479086"/>
            <a:ext cx="668342" cy="668342"/>
          </a:xfrm>
          <a:prstGeom prst="rect">
            <a:avLst/>
          </a:prstGeom>
        </p:spPr>
      </p:pic>
      <p:pic>
        <p:nvPicPr>
          <p:cNvPr id="77" name="Graphic 76" descr="Close">
            <a:extLst>
              <a:ext uri="{FF2B5EF4-FFF2-40B4-BE49-F238E27FC236}">
                <a16:creationId xmlns:a16="http://schemas.microsoft.com/office/drawing/2014/main" id="{276924CC-E6C4-4E38-B65F-5491E13E477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748426" y="2479086"/>
            <a:ext cx="668342" cy="668342"/>
          </a:xfrm>
          <a:prstGeom prst="rect">
            <a:avLst/>
          </a:prstGeom>
        </p:spPr>
      </p:pic>
      <p:sp>
        <p:nvSpPr>
          <p:cNvPr id="79" name="Rectangle 78">
            <a:extLst>
              <a:ext uri="{FF2B5EF4-FFF2-40B4-BE49-F238E27FC236}">
                <a16:creationId xmlns:a16="http://schemas.microsoft.com/office/drawing/2014/main" id="{FF675DA8-77D7-4F15-BE35-78F71840B5A2}"/>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cxnSp>
        <p:nvCxnSpPr>
          <p:cNvPr id="80" name="Straight Connector 79">
            <a:extLst>
              <a:ext uri="{FF2B5EF4-FFF2-40B4-BE49-F238E27FC236}">
                <a16:creationId xmlns:a16="http://schemas.microsoft.com/office/drawing/2014/main" id="{D9D9253C-8494-49B9-9E6C-221DCF0BDE89}"/>
              </a:ext>
            </a:extLst>
          </p:cNvPr>
          <p:cNvCxnSpPr>
            <a:cxnSpLocks/>
            <a:stCxn id="67" idx="3"/>
            <a:endCxn id="3" idx="0"/>
          </p:cNvCxnSpPr>
          <p:nvPr/>
        </p:nvCxnSpPr>
        <p:spPr bwMode="auto">
          <a:xfrm flipH="1">
            <a:off x="2933374" y="3519455"/>
            <a:ext cx="769360" cy="1676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7553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5803AA-C9CD-4891-AD8A-91EF4AE348F8}"/>
              </a:ext>
            </a:extLst>
          </p:cNvPr>
          <p:cNvSpPr/>
          <p:nvPr/>
        </p:nvSpPr>
        <p:spPr>
          <a:xfrm>
            <a:off x="444077" y="4565622"/>
            <a:ext cx="5480992" cy="1200329"/>
          </a:xfrm>
          <a:prstGeom prst="rect">
            <a:avLst/>
          </a:prstGeom>
          <a:solidFill>
            <a:srgbClr val="00148C"/>
          </a:solidFill>
        </p:spPr>
        <p:txBody>
          <a:bodyPr wrap="square">
            <a:spAutoFit/>
          </a:bodyPr>
          <a:lstStyle/>
          <a:p>
            <a:pPr marL="285744" indent="-285744" defTabSz="914354">
              <a:buFont typeface="Arial" panose="020B0604020202020204" pitchFamily="34" charset="0"/>
              <a:buChar char="•"/>
            </a:pPr>
            <a:r>
              <a:rPr lang="en-US" sz="1200">
                <a:solidFill>
                  <a:schemeClr val="bg1"/>
                </a:solidFill>
                <a:latin typeface="Arial" panose="020B0604020202020204" pitchFamily="34" charset="0"/>
                <a:ea typeface="MS Gothic" panose="020B0609070205080204" pitchFamily="49" charset="-128"/>
                <a:cs typeface="Arial" panose="020B0604020202020204" pitchFamily="34" charset="0"/>
              </a:rPr>
              <a:t>Lack of single master data source for all workforce, due to multiple source systems</a:t>
            </a:r>
          </a:p>
          <a:p>
            <a:pPr marL="285744" indent="-285744" defTabSz="914354">
              <a:buFont typeface="Arial" panose="020B0604020202020204" pitchFamily="34" charset="0"/>
              <a:buChar char="•"/>
            </a:pPr>
            <a:r>
              <a:rPr lang="en-US" sz="1200">
                <a:solidFill>
                  <a:schemeClr val="bg1"/>
                </a:solidFill>
                <a:latin typeface="Arial" panose="020B0604020202020204" pitchFamily="34" charset="0"/>
                <a:ea typeface="MS Gothic" panose="020B0609070205080204" pitchFamily="49" charset="-128"/>
                <a:cs typeface="Arial" panose="020B0604020202020204" pitchFamily="34" charset="0"/>
              </a:rPr>
              <a:t>120+ direct interfaces from workforce source systems causing significant impact to business processes and transformational projects such as </a:t>
            </a:r>
            <a:r>
              <a:rPr lang="en-US" sz="1200" err="1">
                <a:solidFill>
                  <a:schemeClr val="bg1"/>
                </a:solidFill>
                <a:latin typeface="Arial" panose="020B0604020202020204" pitchFamily="34" charset="0"/>
                <a:ea typeface="MS Gothic" panose="020B0609070205080204" pitchFamily="49" charset="-128"/>
                <a:cs typeface="Arial" panose="020B0604020202020204" pitchFamily="34" charset="0"/>
              </a:rPr>
              <a:t>MyHUB</a:t>
            </a:r>
            <a:r>
              <a:rPr lang="en-US" sz="1200">
                <a:solidFill>
                  <a:schemeClr val="bg1"/>
                </a:solidFill>
                <a:latin typeface="Arial" panose="020B0604020202020204" pitchFamily="34" charset="0"/>
                <a:ea typeface="MS Gothic" panose="020B0609070205080204" pitchFamily="49" charset="-128"/>
                <a:cs typeface="Arial" panose="020B0604020202020204" pitchFamily="34" charset="0"/>
              </a:rPr>
              <a:t> 2.0</a:t>
            </a:r>
          </a:p>
          <a:p>
            <a:pPr marL="285744" indent="-285744" defTabSz="914354">
              <a:buFont typeface="Arial" panose="020B0604020202020204" pitchFamily="34" charset="0"/>
              <a:buChar char="•"/>
            </a:pPr>
            <a:r>
              <a:rPr lang="en-US" sz="1200">
                <a:solidFill>
                  <a:schemeClr val="bg1"/>
                </a:solidFill>
                <a:latin typeface="Arial" panose="020B0604020202020204" pitchFamily="34" charset="0"/>
                <a:ea typeface="MS Gothic" panose="020B0609070205080204" pitchFamily="49" charset="-128"/>
                <a:cs typeface="Arial" panose="020B0604020202020204" pitchFamily="34" charset="0"/>
              </a:rPr>
              <a:t>Headcount reporting issues across HR and Finance systems</a:t>
            </a:r>
            <a:endParaRPr lang="en-GB" sz="1200">
              <a:solidFill>
                <a:schemeClr val="bg1"/>
              </a:solidFill>
              <a:latin typeface="Arial" panose="020B0604020202020204" pitchFamily="34" charset="0"/>
              <a:ea typeface="MS Gothic" panose="020B0609070205080204" pitchFamily="49" charset="-128"/>
              <a:cs typeface="Arial" panose="020B0604020202020204" pitchFamily="34" charset="0"/>
            </a:endParaRPr>
          </a:p>
        </p:txBody>
      </p:sp>
      <p:sp>
        <p:nvSpPr>
          <p:cNvPr id="56" name="Title 8">
            <a:extLst>
              <a:ext uri="{FF2B5EF4-FFF2-40B4-BE49-F238E27FC236}">
                <a16:creationId xmlns:a16="http://schemas.microsoft.com/office/drawing/2014/main" id="{7F82A6B4-8DFF-4BB4-A272-A5594EADF6B9}"/>
              </a:ext>
            </a:extLst>
          </p:cNvPr>
          <p:cNvSpPr>
            <a:spLocks noGrp="1"/>
          </p:cNvSpPr>
          <p:nvPr>
            <p:ph type="title"/>
          </p:nvPr>
        </p:nvSpPr>
        <p:spPr>
          <a:xfrm>
            <a:off x="172333" y="81723"/>
            <a:ext cx="9052588" cy="505019"/>
          </a:xfrm>
        </p:spPr>
        <p:txBody>
          <a:bodyPr/>
          <a:lstStyle/>
          <a:p>
            <a:r>
              <a:rPr lang="en-US"/>
              <a:t>How MDM helps Workforce data domain?</a:t>
            </a:r>
          </a:p>
        </p:txBody>
      </p:sp>
      <p:sp>
        <p:nvSpPr>
          <p:cNvPr id="231" name="Rectangle 230">
            <a:extLst>
              <a:ext uri="{FF2B5EF4-FFF2-40B4-BE49-F238E27FC236}">
                <a16:creationId xmlns:a16="http://schemas.microsoft.com/office/drawing/2014/main" id="{6BD82F0B-9331-4013-AD80-959C173ED058}"/>
              </a:ext>
            </a:extLst>
          </p:cNvPr>
          <p:cNvSpPr/>
          <p:nvPr/>
        </p:nvSpPr>
        <p:spPr>
          <a:xfrm>
            <a:off x="6326971" y="4590361"/>
            <a:ext cx="5480992" cy="1015663"/>
          </a:xfrm>
          <a:prstGeom prst="rect">
            <a:avLst/>
          </a:prstGeom>
          <a:solidFill>
            <a:srgbClr val="00148C"/>
          </a:solidFill>
        </p:spPr>
        <p:txBody>
          <a:bodyPr wrap="square">
            <a:spAutoFit/>
          </a:bodyPr>
          <a:lstStyle/>
          <a:p>
            <a:pPr marL="285744" indent="-285744" defTabSz="914354">
              <a:buFont typeface="Arial" panose="020B0604020202020204" pitchFamily="34" charset="0"/>
              <a:buChar char="•"/>
            </a:pPr>
            <a:r>
              <a:rPr lang="en-GB" sz="1200">
                <a:solidFill>
                  <a:schemeClr val="bg1"/>
                </a:solidFill>
                <a:cs typeface="Arial"/>
              </a:rPr>
              <a:t>Consolidate master data from multiple source systems</a:t>
            </a:r>
          </a:p>
          <a:p>
            <a:pPr marL="285744" indent="-285744" defTabSz="914354">
              <a:buFont typeface="Arial" panose="020B0604020202020204" pitchFamily="34" charset="0"/>
              <a:buChar char="•"/>
            </a:pPr>
            <a:r>
              <a:rPr lang="en-US" sz="1200">
                <a:solidFill>
                  <a:schemeClr val="bg1"/>
                </a:solidFill>
                <a:cs typeface="Arial"/>
              </a:rPr>
              <a:t>Golden</a:t>
            </a:r>
            <a:r>
              <a:rPr lang="en-GB" sz="1200">
                <a:solidFill>
                  <a:schemeClr val="bg1"/>
                </a:solidFill>
                <a:cs typeface="Arial"/>
              </a:rPr>
              <a:t> master</a:t>
            </a:r>
            <a:r>
              <a:rPr lang="en-US" sz="1200">
                <a:solidFill>
                  <a:schemeClr val="bg1"/>
                </a:solidFill>
                <a:cs typeface="Arial"/>
              </a:rPr>
              <a:t> data record definition will help </a:t>
            </a:r>
            <a:r>
              <a:rPr lang="en-GB" sz="1200">
                <a:solidFill>
                  <a:schemeClr val="bg1"/>
                </a:solidFill>
                <a:cs typeface="Arial"/>
              </a:rPr>
              <a:t>improve data quality </a:t>
            </a:r>
          </a:p>
          <a:p>
            <a:pPr marL="285744" indent="-285744" defTabSz="914354">
              <a:buFont typeface="Arial" panose="020B0604020202020204" pitchFamily="34" charset="0"/>
              <a:buChar char="•"/>
            </a:pPr>
            <a:r>
              <a:rPr lang="en-US" sz="1200">
                <a:solidFill>
                  <a:schemeClr val="bg1"/>
                </a:solidFill>
                <a:latin typeface="Arial" panose="020B0604020202020204" pitchFamily="34" charset="0"/>
                <a:ea typeface="MS Gothic" panose="020B0609070205080204" pitchFamily="49" charset="-128"/>
                <a:cs typeface="Arial" panose="020B0604020202020204" pitchFamily="34" charset="0"/>
              </a:rPr>
              <a:t>Reduce complexity for downstream extracts/interfaces</a:t>
            </a:r>
          </a:p>
          <a:p>
            <a:pPr marL="285744" indent="-285744" defTabSz="914354">
              <a:buFont typeface="Arial" panose="020B0604020202020204" pitchFamily="34" charset="0"/>
              <a:buChar char="•"/>
            </a:pPr>
            <a:r>
              <a:rPr lang="en-US" sz="1200">
                <a:solidFill>
                  <a:schemeClr val="bg1"/>
                </a:solidFill>
                <a:latin typeface="Arial" panose="020B0604020202020204" pitchFamily="34" charset="0"/>
                <a:ea typeface="MS Gothic" panose="020B0609070205080204" pitchFamily="49" charset="-128"/>
                <a:cs typeface="Arial" panose="020B0604020202020204" pitchFamily="34" charset="0"/>
              </a:rPr>
              <a:t>MDM provides ability to create downstream single version of truth for reporting</a:t>
            </a:r>
            <a:endParaRPr lang="en-GB" sz="1200">
              <a:solidFill>
                <a:schemeClr val="bg1"/>
              </a:solidFill>
              <a:latin typeface="Arial" panose="020B0604020202020204" pitchFamily="34" charset="0"/>
              <a:ea typeface="MS Gothic" panose="020B0609070205080204" pitchFamily="49" charset="-128"/>
              <a:cs typeface="Arial" panose="020B0604020202020204" pitchFamily="34" charset="0"/>
            </a:endParaRPr>
          </a:p>
        </p:txBody>
      </p:sp>
      <p:grpSp>
        <p:nvGrpSpPr>
          <p:cNvPr id="821" name="Group 820">
            <a:extLst>
              <a:ext uri="{FF2B5EF4-FFF2-40B4-BE49-F238E27FC236}">
                <a16:creationId xmlns:a16="http://schemas.microsoft.com/office/drawing/2014/main" id="{AAE28C8E-000E-4D0E-866A-00562E36B3BC}"/>
              </a:ext>
            </a:extLst>
          </p:cNvPr>
          <p:cNvGrpSpPr/>
          <p:nvPr/>
        </p:nvGrpSpPr>
        <p:grpSpPr>
          <a:xfrm>
            <a:off x="6349023" y="563787"/>
            <a:ext cx="5480992" cy="3784747"/>
            <a:chOff x="4727570" y="473689"/>
            <a:chExt cx="4110744" cy="2838560"/>
          </a:xfrm>
        </p:grpSpPr>
        <p:sp>
          <p:nvSpPr>
            <p:cNvPr id="199" name="Flowchart: Magnetic Disk 198">
              <a:extLst>
                <a:ext uri="{FF2B5EF4-FFF2-40B4-BE49-F238E27FC236}">
                  <a16:creationId xmlns:a16="http://schemas.microsoft.com/office/drawing/2014/main" id="{4C761DDF-4978-40D1-A89F-1D77930A47AB}"/>
                </a:ext>
              </a:extLst>
            </p:cNvPr>
            <p:cNvSpPr/>
            <p:nvPr/>
          </p:nvSpPr>
          <p:spPr bwMode="auto">
            <a:xfrm>
              <a:off x="5042399" y="1318723"/>
              <a:ext cx="647170" cy="337669"/>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err="1">
                  <a:solidFill>
                    <a:schemeClr val="bg1"/>
                  </a:solidFill>
                  <a:cs typeface="Arial"/>
                </a:rPr>
                <a:t>MyHub</a:t>
              </a:r>
              <a:endParaRPr lang="en-GB" sz="900">
                <a:solidFill>
                  <a:schemeClr val="bg1"/>
                </a:solidFill>
                <a:cs typeface="Arial"/>
              </a:endParaRPr>
            </a:p>
          </p:txBody>
        </p:sp>
        <p:sp>
          <p:nvSpPr>
            <p:cNvPr id="200" name="Flowchart: Magnetic Disk 199">
              <a:extLst>
                <a:ext uri="{FF2B5EF4-FFF2-40B4-BE49-F238E27FC236}">
                  <a16:creationId xmlns:a16="http://schemas.microsoft.com/office/drawing/2014/main" id="{60D86C6A-4639-4391-B514-88A3C142DA10}"/>
                </a:ext>
              </a:extLst>
            </p:cNvPr>
            <p:cNvSpPr/>
            <p:nvPr/>
          </p:nvSpPr>
          <p:spPr bwMode="auto">
            <a:xfrm>
              <a:off x="7491439" y="1299249"/>
              <a:ext cx="583765" cy="337669"/>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SAP ECC (US)</a:t>
              </a:r>
            </a:p>
          </p:txBody>
        </p:sp>
        <p:sp>
          <p:nvSpPr>
            <p:cNvPr id="203" name="TextBox 202">
              <a:extLst>
                <a:ext uri="{FF2B5EF4-FFF2-40B4-BE49-F238E27FC236}">
                  <a16:creationId xmlns:a16="http://schemas.microsoft.com/office/drawing/2014/main" id="{65257233-BDE5-4395-99A3-D85376329AD6}"/>
                </a:ext>
              </a:extLst>
            </p:cNvPr>
            <p:cNvSpPr txBox="1"/>
            <p:nvPr/>
          </p:nvSpPr>
          <p:spPr bwMode="auto">
            <a:xfrm>
              <a:off x="4781878" y="1039294"/>
              <a:ext cx="1249573"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ctr">
                <a:spcAft>
                  <a:spcPts val="600"/>
                </a:spcAft>
              </a:pPr>
              <a:r>
                <a:rPr lang="en-GB" sz="1200"/>
                <a:t>Employees &amp; US Contingent Workers</a:t>
              </a:r>
            </a:p>
          </p:txBody>
        </p:sp>
        <p:sp>
          <p:nvSpPr>
            <p:cNvPr id="205" name="TextBox 204">
              <a:extLst>
                <a:ext uri="{FF2B5EF4-FFF2-40B4-BE49-F238E27FC236}">
                  <a16:creationId xmlns:a16="http://schemas.microsoft.com/office/drawing/2014/main" id="{E882B179-D5AB-4278-8DF8-F4A1B4EBE722}"/>
                </a:ext>
              </a:extLst>
            </p:cNvPr>
            <p:cNvSpPr txBox="1"/>
            <p:nvPr/>
          </p:nvSpPr>
          <p:spPr bwMode="auto">
            <a:xfrm>
              <a:off x="6217115" y="1041155"/>
              <a:ext cx="1059489"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GB"/>
              </a:defPPr>
              <a:lvl1pPr algn="ctr">
                <a:spcAft>
                  <a:spcPts val="450"/>
                </a:spcAft>
                <a:defRPr sz="900"/>
              </a:lvl1pPr>
            </a:lstStyle>
            <a:p>
              <a:r>
                <a:rPr lang="en-GB" sz="1200"/>
                <a:t>UK Contingent Workers </a:t>
              </a:r>
            </a:p>
          </p:txBody>
        </p:sp>
        <p:sp>
          <p:nvSpPr>
            <p:cNvPr id="207" name="TextBox 206">
              <a:extLst>
                <a:ext uri="{FF2B5EF4-FFF2-40B4-BE49-F238E27FC236}">
                  <a16:creationId xmlns:a16="http://schemas.microsoft.com/office/drawing/2014/main" id="{24141D5C-D17A-4681-9A6A-8EF321F830FF}"/>
                </a:ext>
              </a:extLst>
            </p:cNvPr>
            <p:cNvSpPr txBox="1"/>
            <p:nvPr/>
          </p:nvSpPr>
          <p:spPr bwMode="auto">
            <a:xfrm>
              <a:off x="7841496" y="1066540"/>
              <a:ext cx="307777"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t" anchorCtr="0" compatLnSpc="1">
              <a:prstTxWarp prst="textNoShape">
                <a:avLst/>
              </a:prstTxWarp>
              <a:spAutoFit/>
            </a:bodyPr>
            <a:lstStyle/>
            <a:p>
              <a:pPr>
                <a:spcAft>
                  <a:spcPts val="600"/>
                </a:spcAft>
              </a:pPr>
              <a:r>
                <a:rPr lang="en-GB" sz="1200"/>
                <a:t>MSPs</a:t>
              </a:r>
            </a:p>
          </p:txBody>
        </p:sp>
        <p:cxnSp>
          <p:nvCxnSpPr>
            <p:cNvPr id="208" name="Straight Connector 207">
              <a:extLst>
                <a:ext uri="{FF2B5EF4-FFF2-40B4-BE49-F238E27FC236}">
                  <a16:creationId xmlns:a16="http://schemas.microsoft.com/office/drawing/2014/main" id="{B3E8A04D-6312-41BB-BEB3-0B3670A368F2}"/>
                </a:ext>
              </a:extLst>
            </p:cNvPr>
            <p:cNvCxnSpPr>
              <a:cxnSpLocks/>
              <a:endCxn id="498" idx="8"/>
            </p:cNvCxnSpPr>
            <p:nvPr/>
          </p:nvCxnSpPr>
          <p:spPr bwMode="auto">
            <a:xfrm>
              <a:off x="5953005" y="2133863"/>
              <a:ext cx="95505" cy="796433"/>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Straight Connector 208">
              <a:extLst>
                <a:ext uri="{FF2B5EF4-FFF2-40B4-BE49-F238E27FC236}">
                  <a16:creationId xmlns:a16="http://schemas.microsoft.com/office/drawing/2014/main" id="{6FFEF699-3AD8-44CE-B445-0B3C18392196}"/>
                </a:ext>
              </a:extLst>
            </p:cNvPr>
            <p:cNvCxnSpPr>
              <a:cxnSpLocks/>
              <a:endCxn id="361" idx="1"/>
            </p:cNvCxnSpPr>
            <p:nvPr/>
          </p:nvCxnSpPr>
          <p:spPr bwMode="auto">
            <a:xfrm>
              <a:off x="6057480" y="2237297"/>
              <a:ext cx="373427" cy="49947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0" name="Straight Connector 209">
              <a:extLst>
                <a:ext uri="{FF2B5EF4-FFF2-40B4-BE49-F238E27FC236}">
                  <a16:creationId xmlns:a16="http://schemas.microsoft.com/office/drawing/2014/main" id="{57CBC6B8-6400-4244-B552-ECF6C4CE0C17}"/>
                </a:ext>
              </a:extLst>
            </p:cNvPr>
            <p:cNvCxnSpPr>
              <a:cxnSpLocks/>
              <a:endCxn id="500" idx="1"/>
            </p:cNvCxnSpPr>
            <p:nvPr/>
          </p:nvCxnSpPr>
          <p:spPr bwMode="auto">
            <a:xfrm flipH="1">
              <a:off x="6969663" y="2068713"/>
              <a:ext cx="143006" cy="52193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1" name="Straight Connector 210">
              <a:extLst>
                <a:ext uri="{FF2B5EF4-FFF2-40B4-BE49-F238E27FC236}">
                  <a16:creationId xmlns:a16="http://schemas.microsoft.com/office/drawing/2014/main" id="{AA8CC22A-7252-4AE5-A489-61969285A27A}"/>
                </a:ext>
              </a:extLst>
            </p:cNvPr>
            <p:cNvCxnSpPr>
              <a:cxnSpLocks/>
              <a:endCxn id="353" idx="0"/>
            </p:cNvCxnSpPr>
            <p:nvPr/>
          </p:nvCxnSpPr>
          <p:spPr bwMode="auto">
            <a:xfrm flipH="1">
              <a:off x="5527187" y="2290570"/>
              <a:ext cx="2822" cy="480693"/>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2" name="Straight Connector 211">
              <a:extLst>
                <a:ext uri="{FF2B5EF4-FFF2-40B4-BE49-F238E27FC236}">
                  <a16:creationId xmlns:a16="http://schemas.microsoft.com/office/drawing/2014/main" id="{7A6470F4-13EA-4116-A68D-B03443A75BD6}"/>
                </a:ext>
              </a:extLst>
            </p:cNvPr>
            <p:cNvCxnSpPr>
              <a:cxnSpLocks/>
              <a:endCxn id="491" idx="11"/>
            </p:cNvCxnSpPr>
            <p:nvPr/>
          </p:nvCxnSpPr>
          <p:spPr bwMode="auto">
            <a:xfrm flipH="1">
              <a:off x="5055626" y="2262817"/>
              <a:ext cx="257776" cy="633827"/>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3" name="Straight Connector 212">
              <a:extLst>
                <a:ext uri="{FF2B5EF4-FFF2-40B4-BE49-F238E27FC236}">
                  <a16:creationId xmlns:a16="http://schemas.microsoft.com/office/drawing/2014/main" id="{919A1349-C02C-4C34-AA30-72C4F8E97DF6}"/>
                </a:ext>
              </a:extLst>
            </p:cNvPr>
            <p:cNvCxnSpPr>
              <a:cxnSpLocks/>
              <a:endCxn id="403" idx="11"/>
            </p:cNvCxnSpPr>
            <p:nvPr/>
          </p:nvCxnSpPr>
          <p:spPr bwMode="auto">
            <a:xfrm flipH="1">
              <a:off x="5688920" y="2279816"/>
              <a:ext cx="60628" cy="70287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8" name="Straight Connector 227">
              <a:extLst>
                <a:ext uri="{FF2B5EF4-FFF2-40B4-BE49-F238E27FC236}">
                  <a16:creationId xmlns:a16="http://schemas.microsoft.com/office/drawing/2014/main" id="{32907C08-2674-4D96-98A0-48BE91171417}"/>
                </a:ext>
              </a:extLst>
            </p:cNvPr>
            <p:cNvCxnSpPr>
              <a:cxnSpLocks/>
              <a:endCxn id="356" idx="1"/>
            </p:cNvCxnSpPr>
            <p:nvPr/>
          </p:nvCxnSpPr>
          <p:spPr bwMode="auto">
            <a:xfrm>
              <a:off x="8152085" y="2094451"/>
              <a:ext cx="62015" cy="50279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9" name="TextBox 228">
              <a:extLst>
                <a:ext uri="{FF2B5EF4-FFF2-40B4-BE49-F238E27FC236}">
                  <a16:creationId xmlns:a16="http://schemas.microsoft.com/office/drawing/2014/main" id="{60A5F3AA-B2D5-40AA-B69B-700EAC11F727}"/>
                </a:ext>
              </a:extLst>
            </p:cNvPr>
            <p:cNvSpPr txBox="1"/>
            <p:nvPr/>
          </p:nvSpPr>
          <p:spPr bwMode="auto">
            <a:xfrm>
              <a:off x="4763638" y="473689"/>
              <a:ext cx="738183" cy="16158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t" anchorCtr="0" compatLnSpc="1">
              <a:prstTxWarp prst="textNoShape">
                <a:avLst/>
              </a:prstTxWarp>
              <a:spAutoFit/>
            </a:bodyPr>
            <a:lstStyle/>
            <a:p>
              <a:pPr>
                <a:spcAft>
                  <a:spcPts val="600"/>
                </a:spcAft>
              </a:pPr>
              <a:r>
                <a:rPr lang="en-GB" sz="1400"/>
                <a:t>Future State</a:t>
              </a:r>
            </a:p>
          </p:txBody>
        </p:sp>
        <p:sp>
          <p:nvSpPr>
            <p:cNvPr id="230" name="Rectangle 229">
              <a:extLst>
                <a:ext uri="{FF2B5EF4-FFF2-40B4-BE49-F238E27FC236}">
                  <a16:creationId xmlns:a16="http://schemas.microsoft.com/office/drawing/2014/main" id="{126BA338-8F8D-4999-9353-629E1351D312}"/>
                </a:ext>
              </a:extLst>
            </p:cNvPr>
            <p:cNvSpPr/>
            <p:nvPr/>
          </p:nvSpPr>
          <p:spPr bwMode="auto">
            <a:xfrm>
              <a:off x="4727570" y="654121"/>
              <a:ext cx="4110744" cy="2658128"/>
            </a:xfrm>
            <a:prstGeom prst="rect">
              <a:avLst/>
            </a:prstGeom>
            <a:noFill/>
            <a:ln w="9525" cap="flat" cmpd="sng" algn="ctr">
              <a:solidFill>
                <a:schemeClr val="bg2"/>
              </a:solidFill>
              <a:prstDash val="solid"/>
              <a:round/>
              <a:headEnd type="none" w="med" len="med"/>
              <a:tailEnd type="triangle" w="med" len="med"/>
            </a:ln>
            <a:effectLst/>
          </p:spPr>
          <p:txBody>
            <a:bodyPr vert="horz" wrap="square" lIns="91435" tIns="45719" rIns="91435" bIns="45719" numCol="1" rtlCol="0" anchor="t" anchorCtr="0" compatLnSpc="1">
              <a:prstTxWarp prst="textNoShape">
                <a:avLst/>
              </a:prstTxWarp>
            </a:bodyPr>
            <a:lstStyle/>
            <a:p>
              <a:pPr>
                <a:spcAft>
                  <a:spcPts val="451"/>
                </a:spcAft>
              </a:pPr>
              <a:endParaRPr lang="en-GB" err="1">
                <a:solidFill>
                  <a:schemeClr val="bg1"/>
                </a:solidFill>
                <a:cs typeface="Arial"/>
              </a:endParaRPr>
            </a:p>
          </p:txBody>
        </p:sp>
      </p:grpSp>
      <p:sp>
        <p:nvSpPr>
          <p:cNvPr id="232" name="Flowchart: Magnetic Disk 231">
            <a:extLst>
              <a:ext uri="{FF2B5EF4-FFF2-40B4-BE49-F238E27FC236}">
                <a16:creationId xmlns:a16="http://schemas.microsoft.com/office/drawing/2014/main" id="{21052B6C-5D63-40D3-8E6C-3BEB8D984C82}"/>
              </a:ext>
            </a:extLst>
          </p:cNvPr>
          <p:cNvSpPr/>
          <p:nvPr/>
        </p:nvSpPr>
        <p:spPr bwMode="auto">
          <a:xfrm>
            <a:off x="10872287" y="1648824"/>
            <a:ext cx="734603" cy="468251"/>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ACG (UK)</a:t>
            </a:r>
          </a:p>
          <a:p>
            <a:pPr algn="ctr">
              <a:spcAft>
                <a:spcPts val="451"/>
              </a:spcAft>
            </a:pPr>
            <a:endParaRPr lang="en-GB" sz="900">
              <a:solidFill>
                <a:schemeClr val="bg1"/>
              </a:solidFill>
              <a:cs typeface="Arial"/>
            </a:endParaRPr>
          </a:p>
        </p:txBody>
      </p:sp>
      <p:pic>
        <p:nvPicPr>
          <p:cNvPr id="233" name="Picture 232">
            <a:extLst>
              <a:ext uri="{FF2B5EF4-FFF2-40B4-BE49-F238E27FC236}">
                <a16:creationId xmlns:a16="http://schemas.microsoft.com/office/drawing/2014/main" id="{90942EE4-B0C7-4CEC-926D-BA446785A95D}"/>
              </a:ext>
            </a:extLst>
          </p:cNvPr>
          <p:cNvPicPr>
            <a:picLocks noChangeAspect="1"/>
          </p:cNvPicPr>
          <p:nvPr/>
        </p:nvPicPr>
        <p:blipFill>
          <a:blip r:embed="rId3"/>
          <a:stretch>
            <a:fillRect/>
          </a:stretch>
        </p:blipFill>
        <p:spPr>
          <a:xfrm>
            <a:off x="8408873" y="1738507"/>
            <a:ext cx="380083" cy="351619"/>
          </a:xfrm>
          <a:prstGeom prst="rect">
            <a:avLst/>
          </a:prstGeom>
        </p:spPr>
      </p:pic>
      <p:cxnSp>
        <p:nvCxnSpPr>
          <p:cNvPr id="234" name="Straight Connector 233">
            <a:extLst>
              <a:ext uri="{FF2B5EF4-FFF2-40B4-BE49-F238E27FC236}">
                <a16:creationId xmlns:a16="http://schemas.microsoft.com/office/drawing/2014/main" id="{28AC5AA9-29CC-41FC-9AAC-0F8115628213}"/>
              </a:ext>
            </a:extLst>
          </p:cNvPr>
          <p:cNvCxnSpPr>
            <a:cxnSpLocks/>
            <a:stCxn id="199" idx="4"/>
            <a:endCxn id="233" idx="1"/>
          </p:cNvCxnSpPr>
          <p:nvPr/>
        </p:nvCxnSpPr>
        <p:spPr bwMode="auto">
          <a:xfrm flipV="1">
            <a:off x="7631689" y="1914316"/>
            <a:ext cx="777185" cy="1296"/>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Flowchart: Magnetic Disk 234">
            <a:extLst>
              <a:ext uri="{FF2B5EF4-FFF2-40B4-BE49-F238E27FC236}">
                <a16:creationId xmlns:a16="http://schemas.microsoft.com/office/drawing/2014/main" id="{6A67D726-F6B2-40D4-8BC2-091330B00A4E}"/>
              </a:ext>
            </a:extLst>
          </p:cNvPr>
          <p:cNvSpPr/>
          <p:nvPr/>
        </p:nvSpPr>
        <p:spPr bwMode="auto">
          <a:xfrm>
            <a:off x="8837889" y="1693243"/>
            <a:ext cx="709607" cy="468251"/>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SAP ECC (UK)</a:t>
            </a:r>
          </a:p>
        </p:txBody>
      </p:sp>
      <p:cxnSp>
        <p:nvCxnSpPr>
          <p:cNvPr id="236" name="Straight Connector 235">
            <a:extLst>
              <a:ext uri="{FF2B5EF4-FFF2-40B4-BE49-F238E27FC236}">
                <a16:creationId xmlns:a16="http://schemas.microsoft.com/office/drawing/2014/main" id="{2E906495-5418-4758-86B3-AEC5810E41AE}"/>
              </a:ext>
            </a:extLst>
          </p:cNvPr>
          <p:cNvCxnSpPr>
            <a:cxnSpLocks/>
            <a:stCxn id="306" idx="1"/>
            <a:endCxn id="250" idx="4"/>
          </p:cNvCxnSpPr>
          <p:nvPr/>
        </p:nvCxnSpPr>
        <p:spPr bwMode="auto">
          <a:xfrm flipH="1">
            <a:off x="8309799" y="2646613"/>
            <a:ext cx="991372" cy="27016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6" name="Rectangle 305">
            <a:extLst>
              <a:ext uri="{FF2B5EF4-FFF2-40B4-BE49-F238E27FC236}">
                <a16:creationId xmlns:a16="http://schemas.microsoft.com/office/drawing/2014/main" id="{FE58E832-B93C-44D1-82C4-0E38D5F3140F}"/>
              </a:ext>
            </a:extLst>
          </p:cNvPr>
          <p:cNvSpPr/>
          <p:nvPr/>
        </p:nvSpPr>
        <p:spPr bwMode="auto">
          <a:xfrm>
            <a:off x="9301172" y="2446792"/>
            <a:ext cx="1838329" cy="399640"/>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12" tIns="60957" rIns="121912" bIns="60957" numCol="1" rtlCol="0" anchor="ctr" anchorCtr="0" compatLnSpc="1">
            <a:prstTxWarp prst="textNoShape">
              <a:avLst/>
            </a:prstTxWarp>
          </a:bodyPr>
          <a:lstStyle/>
          <a:p>
            <a:r>
              <a:rPr lang="en-US" sz="1067">
                <a:solidFill>
                  <a:schemeClr val="bg1"/>
                </a:solidFill>
                <a:cs typeface="Arial"/>
              </a:rPr>
              <a:t>Master Data </a:t>
            </a:r>
          </a:p>
          <a:p>
            <a:r>
              <a:rPr lang="en-US" sz="1067">
                <a:solidFill>
                  <a:schemeClr val="bg1"/>
                </a:solidFill>
                <a:cs typeface="Arial"/>
              </a:rPr>
              <a:t>Management</a:t>
            </a:r>
          </a:p>
        </p:txBody>
      </p:sp>
      <p:cxnSp>
        <p:nvCxnSpPr>
          <p:cNvPr id="335" name="Straight Connector 334">
            <a:extLst>
              <a:ext uri="{FF2B5EF4-FFF2-40B4-BE49-F238E27FC236}">
                <a16:creationId xmlns:a16="http://schemas.microsoft.com/office/drawing/2014/main" id="{853C7459-4959-480F-879A-FFCC65281706}"/>
              </a:ext>
            </a:extLst>
          </p:cNvPr>
          <p:cNvCxnSpPr>
            <a:cxnSpLocks/>
          </p:cNvCxnSpPr>
          <p:nvPr/>
        </p:nvCxnSpPr>
        <p:spPr bwMode="auto">
          <a:xfrm>
            <a:off x="7630823" y="2089683"/>
            <a:ext cx="1684812" cy="385205"/>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8" name="Straight Connector 337">
            <a:extLst>
              <a:ext uri="{FF2B5EF4-FFF2-40B4-BE49-F238E27FC236}">
                <a16:creationId xmlns:a16="http://schemas.microsoft.com/office/drawing/2014/main" id="{FBC04562-E83C-4A6A-9008-B569ED4B49CB}"/>
              </a:ext>
            </a:extLst>
          </p:cNvPr>
          <p:cNvCxnSpPr>
            <a:cxnSpLocks/>
            <a:stCxn id="235" idx="3"/>
            <a:endCxn id="306" idx="0"/>
          </p:cNvCxnSpPr>
          <p:nvPr/>
        </p:nvCxnSpPr>
        <p:spPr bwMode="auto">
          <a:xfrm>
            <a:off x="9192693" y="2161493"/>
            <a:ext cx="1027644" cy="285299"/>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9" name="Straight Connector 338">
            <a:extLst>
              <a:ext uri="{FF2B5EF4-FFF2-40B4-BE49-F238E27FC236}">
                <a16:creationId xmlns:a16="http://schemas.microsoft.com/office/drawing/2014/main" id="{C7B85792-3E5C-444F-A308-2BE8D6DD6EAB}"/>
              </a:ext>
            </a:extLst>
          </p:cNvPr>
          <p:cNvCxnSpPr>
            <a:cxnSpLocks/>
            <a:stCxn id="232" idx="3"/>
            <a:endCxn id="475" idx="1"/>
          </p:cNvCxnSpPr>
          <p:nvPr/>
        </p:nvCxnSpPr>
        <p:spPr bwMode="auto">
          <a:xfrm flipH="1">
            <a:off x="10696945" y="2117075"/>
            <a:ext cx="542644" cy="345239"/>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4" name="Straight Connector 343">
            <a:extLst>
              <a:ext uri="{FF2B5EF4-FFF2-40B4-BE49-F238E27FC236}">
                <a16:creationId xmlns:a16="http://schemas.microsoft.com/office/drawing/2014/main" id="{8202AC17-F942-406B-B2F3-BDB585751173}"/>
              </a:ext>
            </a:extLst>
          </p:cNvPr>
          <p:cNvCxnSpPr>
            <a:cxnSpLocks/>
            <a:stCxn id="200" idx="3"/>
          </p:cNvCxnSpPr>
          <p:nvPr/>
        </p:nvCxnSpPr>
        <p:spPr bwMode="auto">
          <a:xfrm flipH="1">
            <a:off x="10336843" y="2114759"/>
            <a:ext cx="86516" cy="340879"/>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7" name="Straight Connector 346">
            <a:extLst>
              <a:ext uri="{FF2B5EF4-FFF2-40B4-BE49-F238E27FC236}">
                <a16:creationId xmlns:a16="http://schemas.microsoft.com/office/drawing/2014/main" id="{AA7247A3-688A-48B8-9F2A-6A1F09623C09}"/>
              </a:ext>
            </a:extLst>
          </p:cNvPr>
          <p:cNvCxnSpPr>
            <a:cxnSpLocks/>
            <a:stCxn id="233" idx="2"/>
          </p:cNvCxnSpPr>
          <p:nvPr/>
        </p:nvCxnSpPr>
        <p:spPr bwMode="auto">
          <a:xfrm>
            <a:off x="8598915" y="2090125"/>
            <a:ext cx="880853" cy="350016"/>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5" name="Graphic 201" descr="Group">
            <a:extLst>
              <a:ext uri="{FF2B5EF4-FFF2-40B4-BE49-F238E27FC236}">
                <a16:creationId xmlns:a16="http://schemas.microsoft.com/office/drawing/2014/main" id="{41CA048E-B419-4FB0-AD56-B66073B1606E}"/>
              </a:ext>
            </a:extLst>
          </p:cNvPr>
          <p:cNvGrpSpPr/>
          <p:nvPr/>
        </p:nvGrpSpPr>
        <p:grpSpPr>
          <a:xfrm>
            <a:off x="6786708" y="860115"/>
            <a:ext cx="802689" cy="446196"/>
            <a:chOff x="4920366" y="573715"/>
            <a:chExt cx="602017" cy="334647"/>
          </a:xfrm>
        </p:grpSpPr>
        <p:sp>
          <p:nvSpPr>
            <p:cNvPr id="386" name="Freeform: Shape 385">
              <a:extLst>
                <a:ext uri="{FF2B5EF4-FFF2-40B4-BE49-F238E27FC236}">
                  <a16:creationId xmlns:a16="http://schemas.microsoft.com/office/drawing/2014/main" id="{F2B6D149-F50C-4DE1-9BC0-957FD8D0C939}"/>
                </a:ext>
              </a:extLst>
            </p:cNvPr>
            <p:cNvSpPr/>
            <p:nvPr/>
          </p:nvSpPr>
          <p:spPr>
            <a:xfrm>
              <a:off x="5406109"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387" name="Freeform: Shape 386">
              <a:extLst>
                <a:ext uri="{FF2B5EF4-FFF2-40B4-BE49-F238E27FC236}">
                  <a16:creationId xmlns:a16="http://schemas.microsoft.com/office/drawing/2014/main" id="{052F8072-609B-4521-AC54-1EA2DF91B9F0}"/>
                </a:ext>
              </a:extLst>
            </p:cNvPr>
            <p:cNvSpPr/>
            <p:nvPr/>
          </p:nvSpPr>
          <p:spPr>
            <a:xfrm>
              <a:off x="4970916"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388" name="Freeform: Shape 387">
              <a:extLst>
                <a:ext uri="{FF2B5EF4-FFF2-40B4-BE49-F238E27FC236}">
                  <a16:creationId xmlns:a16="http://schemas.microsoft.com/office/drawing/2014/main" id="{062AED95-1FF4-4B6F-A6E2-3E7105397FB8}"/>
                </a:ext>
              </a:extLst>
            </p:cNvPr>
            <p:cNvSpPr/>
            <p:nvPr/>
          </p:nvSpPr>
          <p:spPr>
            <a:xfrm>
              <a:off x="5261045"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389" name="Freeform: Shape 388">
              <a:extLst>
                <a:ext uri="{FF2B5EF4-FFF2-40B4-BE49-F238E27FC236}">
                  <a16:creationId xmlns:a16="http://schemas.microsoft.com/office/drawing/2014/main" id="{0C55612A-D5EE-4881-94F4-DDFFD2716E6F}"/>
                </a:ext>
              </a:extLst>
            </p:cNvPr>
            <p:cNvSpPr/>
            <p:nvPr/>
          </p:nvSpPr>
          <p:spPr>
            <a:xfrm>
              <a:off x="5115980"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390" name="Freeform: Shape 389">
              <a:extLst>
                <a:ext uri="{FF2B5EF4-FFF2-40B4-BE49-F238E27FC236}">
                  <a16:creationId xmlns:a16="http://schemas.microsoft.com/office/drawing/2014/main" id="{B06694E7-7704-468D-A1FD-E4EB377731A3}"/>
                </a:ext>
              </a:extLst>
            </p:cNvPr>
            <p:cNvSpPr/>
            <p:nvPr/>
          </p:nvSpPr>
          <p:spPr>
            <a:xfrm>
              <a:off x="4920366" y="639449"/>
              <a:ext cx="602017" cy="268913"/>
            </a:xfrm>
            <a:custGeom>
              <a:avLst/>
              <a:gdLst>
                <a:gd name="connsiteX0" fmla="*/ 608322 w 602017"/>
                <a:gd name="connsiteY0" fmla="*/ 110553 h 268912"/>
                <a:gd name="connsiteX1" fmla="*/ 585112 w 602017"/>
                <a:gd name="connsiteY1" fmla="*/ 23306 h 268912"/>
                <a:gd name="connsiteX2" fmla="*/ 580035 w 602017"/>
                <a:gd name="connsiteY2" fmla="*/ 16732 h 268912"/>
                <a:gd name="connsiteX3" fmla="*/ 551022 w 602017"/>
                <a:gd name="connsiteY3" fmla="*/ 4183 h 268912"/>
                <a:gd name="connsiteX4" fmla="*/ 522009 w 602017"/>
                <a:gd name="connsiteY4" fmla="*/ 0 h 268912"/>
                <a:gd name="connsiteX5" fmla="*/ 492996 w 602017"/>
                <a:gd name="connsiteY5" fmla="*/ 4183 h 268912"/>
                <a:gd name="connsiteX6" fmla="*/ 463983 w 602017"/>
                <a:gd name="connsiteY6" fmla="*/ 16732 h 268912"/>
                <a:gd name="connsiteX7" fmla="*/ 458906 w 602017"/>
                <a:gd name="connsiteY7" fmla="*/ 23306 h 268912"/>
                <a:gd name="connsiteX8" fmla="*/ 449477 w 602017"/>
                <a:gd name="connsiteY8" fmla="*/ 58563 h 268912"/>
                <a:gd name="connsiteX9" fmla="*/ 449477 w 602017"/>
                <a:gd name="connsiteY9" fmla="*/ 58563 h 268912"/>
                <a:gd name="connsiteX10" fmla="*/ 440048 w 602017"/>
                <a:gd name="connsiteY10" fmla="*/ 23306 h 268912"/>
                <a:gd name="connsiteX11" fmla="*/ 434970 w 602017"/>
                <a:gd name="connsiteY11" fmla="*/ 16732 h 268912"/>
                <a:gd name="connsiteX12" fmla="*/ 405958 w 602017"/>
                <a:gd name="connsiteY12" fmla="*/ 4183 h 268912"/>
                <a:gd name="connsiteX13" fmla="*/ 376945 w 602017"/>
                <a:gd name="connsiteY13" fmla="*/ 0 h 268912"/>
                <a:gd name="connsiteX14" fmla="*/ 347932 w 602017"/>
                <a:gd name="connsiteY14" fmla="*/ 4183 h 268912"/>
                <a:gd name="connsiteX15" fmla="*/ 318919 w 602017"/>
                <a:gd name="connsiteY15" fmla="*/ 16732 h 268912"/>
                <a:gd name="connsiteX16" fmla="*/ 313842 w 602017"/>
                <a:gd name="connsiteY16" fmla="*/ 23306 h 268912"/>
                <a:gd name="connsiteX17" fmla="*/ 304412 w 602017"/>
                <a:gd name="connsiteY17" fmla="*/ 57966 h 268912"/>
                <a:gd name="connsiteX18" fmla="*/ 304412 w 602017"/>
                <a:gd name="connsiteY18" fmla="*/ 58563 h 268912"/>
                <a:gd name="connsiteX19" fmla="*/ 294983 w 602017"/>
                <a:gd name="connsiteY19" fmla="*/ 23306 h 268912"/>
                <a:gd name="connsiteX20" fmla="*/ 289906 w 602017"/>
                <a:gd name="connsiteY20" fmla="*/ 16732 h 268912"/>
                <a:gd name="connsiteX21" fmla="*/ 260893 w 602017"/>
                <a:gd name="connsiteY21" fmla="*/ 4183 h 268912"/>
                <a:gd name="connsiteX22" fmla="*/ 231880 w 602017"/>
                <a:gd name="connsiteY22" fmla="*/ 0 h 268912"/>
                <a:gd name="connsiteX23" fmla="*/ 202867 w 602017"/>
                <a:gd name="connsiteY23" fmla="*/ 4183 h 268912"/>
                <a:gd name="connsiteX24" fmla="*/ 173855 w 602017"/>
                <a:gd name="connsiteY24" fmla="*/ 16732 h 268912"/>
                <a:gd name="connsiteX25" fmla="*/ 168777 w 602017"/>
                <a:gd name="connsiteY25" fmla="*/ 23306 h 268912"/>
                <a:gd name="connsiteX26" fmla="*/ 159348 w 602017"/>
                <a:gd name="connsiteY26" fmla="*/ 57966 h 268912"/>
                <a:gd name="connsiteX27" fmla="*/ 159348 w 602017"/>
                <a:gd name="connsiteY27" fmla="*/ 57966 h 268912"/>
                <a:gd name="connsiteX28" fmla="*/ 149919 w 602017"/>
                <a:gd name="connsiteY28" fmla="*/ 23306 h 268912"/>
                <a:gd name="connsiteX29" fmla="*/ 144842 w 602017"/>
                <a:gd name="connsiteY29" fmla="*/ 16732 h 268912"/>
                <a:gd name="connsiteX30" fmla="*/ 115829 w 602017"/>
                <a:gd name="connsiteY30" fmla="*/ 4183 h 268912"/>
                <a:gd name="connsiteX31" fmla="*/ 86816 w 602017"/>
                <a:gd name="connsiteY31" fmla="*/ 0 h 268912"/>
                <a:gd name="connsiteX32" fmla="*/ 57803 w 602017"/>
                <a:gd name="connsiteY32" fmla="*/ 4183 h 268912"/>
                <a:gd name="connsiteX33" fmla="*/ 28790 w 602017"/>
                <a:gd name="connsiteY33" fmla="*/ 16732 h 268912"/>
                <a:gd name="connsiteX34" fmla="*/ 23713 w 602017"/>
                <a:gd name="connsiteY34" fmla="*/ 23306 h 268912"/>
                <a:gd name="connsiteX35" fmla="*/ 503 w 602017"/>
                <a:gd name="connsiteY35" fmla="*/ 109955 h 268912"/>
                <a:gd name="connsiteX36" fmla="*/ 12108 w 602017"/>
                <a:gd name="connsiteY36" fmla="*/ 124895 h 268912"/>
                <a:gd name="connsiteX37" fmla="*/ 14284 w 602017"/>
                <a:gd name="connsiteY37" fmla="*/ 124895 h 268912"/>
                <a:gd name="connsiteX38" fmla="*/ 28790 w 602017"/>
                <a:gd name="connsiteY38" fmla="*/ 115334 h 268912"/>
                <a:gd name="connsiteX39" fmla="*/ 50550 w 602017"/>
                <a:gd name="connsiteY39" fmla="*/ 35855 h 268912"/>
                <a:gd name="connsiteX40" fmla="*/ 50550 w 602017"/>
                <a:gd name="connsiteY40" fmla="*/ 78283 h 268912"/>
                <a:gd name="connsiteX41" fmla="*/ 28790 w 602017"/>
                <a:gd name="connsiteY41" fmla="*/ 167323 h 268912"/>
                <a:gd name="connsiteX42" fmla="*/ 50550 w 602017"/>
                <a:gd name="connsiteY42" fmla="*/ 167323 h 268912"/>
                <a:gd name="connsiteX43" fmla="*/ 50550 w 602017"/>
                <a:gd name="connsiteY43" fmla="*/ 268913 h 268912"/>
                <a:gd name="connsiteX44" fmla="*/ 79563 w 602017"/>
                <a:gd name="connsiteY44" fmla="*/ 268913 h 268912"/>
                <a:gd name="connsiteX45" fmla="*/ 79563 w 602017"/>
                <a:gd name="connsiteY45" fmla="*/ 167323 h 268912"/>
                <a:gd name="connsiteX46" fmla="*/ 94069 w 602017"/>
                <a:gd name="connsiteY46" fmla="*/ 167323 h 268912"/>
                <a:gd name="connsiteX47" fmla="*/ 94069 w 602017"/>
                <a:gd name="connsiteY47" fmla="*/ 268913 h 268912"/>
                <a:gd name="connsiteX48" fmla="*/ 123082 w 602017"/>
                <a:gd name="connsiteY48" fmla="*/ 268913 h 268912"/>
                <a:gd name="connsiteX49" fmla="*/ 123082 w 602017"/>
                <a:gd name="connsiteY49" fmla="*/ 167323 h 268912"/>
                <a:gd name="connsiteX50" fmla="*/ 144842 w 602017"/>
                <a:gd name="connsiteY50" fmla="*/ 167323 h 268912"/>
                <a:gd name="connsiteX51" fmla="*/ 123082 w 602017"/>
                <a:gd name="connsiteY51" fmla="*/ 78283 h 268912"/>
                <a:gd name="connsiteX52" fmla="*/ 123082 w 602017"/>
                <a:gd name="connsiteY52" fmla="*/ 35855 h 268912"/>
                <a:gd name="connsiteX53" fmla="*/ 144842 w 602017"/>
                <a:gd name="connsiteY53" fmla="*/ 115931 h 268912"/>
                <a:gd name="connsiteX54" fmla="*/ 158623 w 602017"/>
                <a:gd name="connsiteY54" fmla="*/ 125493 h 268912"/>
                <a:gd name="connsiteX55" fmla="*/ 158623 w 602017"/>
                <a:gd name="connsiteY55" fmla="*/ 125493 h 268912"/>
                <a:gd name="connsiteX56" fmla="*/ 172404 w 602017"/>
                <a:gd name="connsiteY56" fmla="*/ 115931 h 268912"/>
                <a:gd name="connsiteX57" fmla="*/ 195614 w 602017"/>
                <a:gd name="connsiteY57" fmla="*/ 35855 h 268912"/>
                <a:gd name="connsiteX58" fmla="*/ 195614 w 602017"/>
                <a:gd name="connsiteY58" fmla="*/ 131468 h 268912"/>
                <a:gd name="connsiteX59" fmla="*/ 195614 w 602017"/>
                <a:gd name="connsiteY59" fmla="*/ 268913 h 268912"/>
                <a:gd name="connsiteX60" fmla="*/ 224627 w 602017"/>
                <a:gd name="connsiteY60" fmla="*/ 268913 h 268912"/>
                <a:gd name="connsiteX61" fmla="*/ 224627 w 602017"/>
                <a:gd name="connsiteY61" fmla="*/ 131468 h 268912"/>
                <a:gd name="connsiteX62" fmla="*/ 239133 w 602017"/>
                <a:gd name="connsiteY62" fmla="*/ 131468 h 268912"/>
                <a:gd name="connsiteX63" fmla="*/ 239133 w 602017"/>
                <a:gd name="connsiteY63" fmla="*/ 268913 h 268912"/>
                <a:gd name="connsiteX64" fmla="*/ 268146 w 602017"/>
                <a:gd name="connsiteY64" fmla="*/ 268913 h 268912"/>
                <a:gd name="connsiteX65" fmla="*/ 268146 w 602017"/>
                <a:gd name="connsiteY65" fmla="*/ 131468 h 268912"/>
                <a:gd name="connsiteX66" fmla="*/ 268146 w 602017"/>
                <a:gd name="connsiteY66" fmla="*/ 35855 h 268912"/>
                <a:gd name="connsiteX67" fmla="*/ 289906 w 602017"/>
                <a:gd name="connsiteY67" fmla="*/ 115931 h 268912"/>
                <a:gd name="connsiteX68" fmla="*/ 304412 w 602017"/>
                <a:gd name="connsiteY68" fmla="*/ 125493 h 268912"/>
                <a:gd name="connsiteX69" fmla="*/ 304412 w 602017"/>
                <a:gd name="connsiteY69" fmla="*/ 125493 h 268912"/>
                <a:gd name="connsiteX70" fmla="*/ 304412 w 602017"/>
                <a:gd name="connsiteY70" fmla="*/ 125493 h 268912"/>
                <a:gd name="connsiteX71" fmla="*/ 318194 w 602017"/>
                <a:gd name="connsiteY71" fmla="*/ 115931 h 268912"/>
                <a:gd name="connsiteX72" fmla="*/ 340679 w 602017"/>
                <a:gd name="connsiteY72" fmla="*/ 35855 h 268912"/>
                <a:gd name="connsiteX73" fmla="*/ 340679 w 602017"/>
                <a:gd name="connsiteY73" fmla="*/ 78881 h 268912"/>
                <a:gd name="connsiteX74" fmla="*/ 318919 w 602017"/>
                <a:gd name="connsiteY74" fmla="*/ 167323 h 268912"/>
                <a:gd name="connsiteX75" fmla="*/ 340679 w 602017"/>
                <a:gd name="connsiteY75" fmla="*/ 167323 h 268912"/>
                <a:gd name="connsiteX76" fmla="*/ 340679 w 602017"/>
                <a:gd name="connsiteY76" fmla="*/ 268913 h 268912"/>
                <a:gd name="connsiteX77" fmla="*/ 369691 w 602017"/>
                <a:gd name="connsiteY77" fmla="*/ 268913 h 268912"/>
                <a:gd name="connsiteX78" fmla="*/ 369691 w 602017"/>
                <a:gd name="connsiteY78" fmla="*/ 167323 h 268912"/>
                <a:gd name="connsiteX79" fmla="*/ 384198 w 602017"/>
                <a:gd name="connsiteY79" fmla="*/ 167323 h 268912"/>
                <a:gd name="connsiteX80" fmla="*/ 384198 w 602017"/>
                <a:gd name="connsiteY80" fmla="*/ 268913 h 268912"/>
                <a:gd name="connsiteX81" fmla="*/ 413211 w 602017"/>
                <a:gd name="connsiteY81" fmla="*/ 268913 h 268912"/>
                <a:gd name="connsiteX82" fmla="*/ 413211 w 602017"/>
                <a:gd name="connsiteY82" fmla="*/ 167323 h 268912"/>
                <a:gd name="connsiteX83" fmla="*/ 434970 w 602017"/>
                <a:gd name="connsiteY83" fmla="*/ 167323 h 268912"/>
                <a:gd name="connsiteX84" fmla="*/ 413211 w 602017"/>
                <a:gd name="connsiteY84" fmla="*/ 77686 h 268912"/>
                <a:gd name="connsiteX85" fmla="*/ 413211 w 602017"/>
                <a:gd name="connsiteY85" fmla="*/ 35855 h 268912"/>
                <a:gd name="connsiteX86" fmla="*/ 434970 w 602017"/>
                <a:gd name="connsiteY86" fmla="*/ 115931 h 268912"/>
                <a:gd name="connsiteX87" fmla="*/ 449477 w 602017"/>
                <a:gd name="connsiteY87" fmla="*/ 125493 h 268912"/>
                <a:gd name="connsiteX88" fmla="*/ 449477 w 602017"/>
                <a:gd name="connsiteY88" fmla="*/ 125493 h 268912"/>
                <a:gd name="connsiteX89" fmla="*/ 449477 w 602017"/>
                <a:gd name="connsiteY89" fmla="*/ 125493 h 268912"/>
                <a:gd name="connsiteX90" fmla="*/ 449477 w 602017"/>
                <a:gd name="connsiteY90" fmla="*/ 125493 h 268912"/>
                <a:gd name="connsiteX91" fmla="*/ 463983 w 602017"/>
                <a:gd name="connsiteY91" fmla="*/ 115931 h 268912"/>
                <a:gd name="connsiteX92" fmla="*/ 485743 w 602017"/>
                <a:gd name="connsiteY92" fmla="*/ 35855 h 268912"/>
                <a:gd name="connsiteX93" fmla="*/ 485743 w 602017"/>
                <a:gd name="connsiteY93" fmla="*/ 131468 h 268912"/>
                <a:gd name="connsiteX94" fmla="*/ 485743 w 602017"/>
                <a:gd name="connsiteY94" fmla="*/ 268913 h 268912"/>
                <a:gd name="connsiteX95" fmla="*/ 514756 w 602017"/>
                <a:gd name="connsiteY95" fmla="*/ 268913 h 268912"/>
                <a:gd name="connsiteX96" fmla="*/ 514756 w 602017"/>
                <a:gd name="connsiteY96" fmla="*/ 131468 h 268912"/>
                <a:gd name="connsiteX97" fmla="*/ 529262 w 602017"/>
                <a:gd name="connsiteY97" fmla="*/ 131468 h 268912"/>
                <a:gd name="connsiteX98" fmla="*/ 529262 w 602017"/>
                <a:gd name="connsiteY98" fmla="*/ 268913 h 268912"/>
                <a:gd name="connsiteX99" fmla="*/ 558275 w 602017"/>
                <a:gd name="connsiteY99" fmla="*/ 268913 h 268912"/>
                <a:gd name="connsiteX100" fmla="*/ 558275 w 602017"/>
                <a:gd name="connsiteY100" fmla="*/ 131468 h 268912"/>
                <a:gd name="connsiteX101" fmla="*/ 558275 w 602017"/>
                <a:gd name="connsiteY101" fmla="*/ 35855 h 268912"/>
                <a:gd name="connsiteX102" fmla="*/ 580035 w 602017"/>
                <a:gd name="connsiteY102" fmla="*/ 115931 h 268912"/>
                <a:gd name="connsiteX103" fmla="*/ 594541 w 602017"/>
                <a:gd name="connsiteY103" fmla="*/ 125493 h 268912"/>
                <a:gd name="connsiteX104" fmla="*/ 599618 w 602017"/>
                <a:gd name="connsiteY104" fmla="*/ 124895 h 268912"/>
                <a:gd name="connsiteX105" fmla="*/ 608322 w 602017"/>
                <a:gd name="connsiteY105" fmla="*/ 110553 h 26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02017" h="268912">
                  <a:moveTo>
                    <a:pt x="608322" y="110553"/>
                  </a:moveTo>
                  <a:lnTo>
                    <a:pt x="585112" y="23306"/>
                  </a:lnTo>
                  <a:cubicBezTo>
                    <a:pt x="584387" y="20915"/>
                    <a:pt x="582936" y="18525"/>
                    <a:pt x="580035" y="16732"/>
                  </a:cubicBezTo>
                  <a:cubicBezTo>
                    <a:pt x="571331" y="11354"/>
                    <a:pt x="561902" y="6573"/>
                    <a:pt x="551022" y="4183"/>
                  </a:cubicBezTo>
                  <a:cubicBezTo>
                    <a:pt x="541593" y="1793"/>
                    <a:pt x="532164" y="0"/>
                    <a:pt x="522009" y="0"/>
                  </a:cubicBezTo>
                  <a:cubicBezTo>
                    <a:pt x="511855" y="0"/>
                    <a:pt x="501700" y="1195"/>
                    <a:pt x="492996" y="4183"/>
                  </a:cubicBezTo>
                  <a:cubicBezTo>
                    <a:pt x="482116" y="7171"/>
                    <a:pt x="472687" y="11354"/>
                    <a:pt x="463983" y="16732"/>
                  </a:cubicBezTo>
                  <a:cubicBezTo>
                    <a:pt x="461082" y="18525"/>
                    <a:pt x="459631" y="20915"/>
                    <a:pt x="458906" y="23306"/>
                  </a:cubicBezTo>
                  <a:lnTo>
                    <a:pt x="449477" y="58563"/>
                  </a:lnTo>
                  <a:lnTo>
                    <a:pt x="449477" y="58563"/>
                  </a:lnTo>
                  <a:lnTo>
                    <a:pt x="440048" y="23306"/>
                  </a:lnTo>
                  <a:cubicBezTo>
                    <a:pt x="439322" y="20915"/>
                    <a:pt x="437872" y="18525"/>
                    <a:pt x="434970" y="16732"/>
                  </a:cubicBezTo>
                  <a:cubicBezTo>
                    <a:pt x="426267" y="11354"/>
                    <a:pt x="416837" y="6573"/>
                    <a:pt x="405958" y="4183"/>
                  </a:cubicBezTo>
                  <a:cubicBezTo>
                    <a:pt x="396528" y="1793"/>
                    <a:pt x="387099" y="0"/>
                    <a:pt x="376945" y="0"/>
                  </a:cubicBezTo>
                  <a:cubicBezTo>
                    <a:pt x="366790" y="0"/>
                    <a:pt x="356636" y="1195"/>
                    <a:pt x="347932" y="4183"/>
                  </a:cubicBezTo>
                  <a:cubicBezTo>
                    <a:pt x="337052" y="7171"/>
                    <a:pt x="327623" y="11354"/>
                    <a:pt x="318919" y="16732"/>
                  </a:cubicBezTo>
                  <a:cubicBezTo>
                    <a:pt x="316018" y="18525"/>
                    <a:pt x="314567" y="20915"/>
                    <a:pt x="313842" y="23306"/>
                  </a:cubicBezTo>
                  <a:lnTo>
                    <a:pt x="304412" y="57966"/>
                  </a:lnTo>
                  <a:lnTo>
                    <a:pt x="304412" y="58563"/>
                  </a:lnTo>
                  <a:lnTo>
                    <a:pt x="294983" y="23306"/>
                  </a:lnTo>
                  <a:cubicBezTo>
                    <a:pt x="294258" y="20915"/>
                    <a:pt x="292807" y="18525"/>
                    <a:pt x="289906" y="16732"/>
                  </a:cubicBezTo>
                  <a:cubicBezTo>
                    <a:pt x="281202" y="11354"/>
                    <a:pt x="271773" y="6573"/>
                    <a:pt x="260893" y="4183"/>
                  </a:cubicBezTo>
                  <a:cubicBezTo>
                    <a:pt x="251464" y="1793"/>
                    <a:pt x="242035" y="0"/>
                    <a:pt x="231880" y="0"/>
                  </a:cubicBezTo>
                  <a:cubicBezTo>
                    <a:pt x="221726" y="0"/>
                    <a:pt x="211571" y="1195"/>
                    <a:pt x="202867" y="4183"/>
                  </a:cubicBezTo>
                  <a:cubicBezTo>
                    <a:pt x="191988" y="7171"/>
                    <a:pt x="182558" y="11354"/>
                    <a:pt x="173855" y="16732"/>
                  </a:cubicBezTo>
                  <a:cubicBezTo>
                    <a:pt x="170953" y="18525"/>
                    <a:pt x="169503" y="20915"/>
                    <a:pt x="168777" y="23306"/>
                  </a:cubicBezTo>
                  <a:lnTo>
                    <a:pt x="159348" y="57966"/>
                  </a:lnTo>
                  <a:lnTo>
                    <a:pt x="159348" y="57966"/>
                  </a:lnTo>
                  <a:lnTo>
                    <a:pt x="149919" y="23306"/>
                  </a:lnTo>
                  <a:cubicBezTo>
                    <a:pt x="149194" y="20915"/>
                    <a:pt x="147743" y="18525"/>
                    <a:pt x="144842" y="16732"/>
                  </a:cubicBezTo>
                  <a:cubicBezTo>
                    <a:pt x="136138" y="11354"/>
                    <a:pt x="126709" y="6573"/>
                    <a:pt x="115829" y="4183"/>
                  </a:cubicBezTo>
                  <a:cubicBezTo>
                    <a:pt x="106400" y="1793"/>
                    <a:pt x="96970" y="0"/>
                    <a:pt x="86816" y="0"/>
                  </a:cubicBezTo>
                  <a:cubicBezTo>
                    <a:pt x="76661" y="0"/>
                    <a:pt x="66507" y="1195"/>
                    <a:pt x="57803" y="4183"/>
                  </a:cubicBezTo>
                  <a:cubicBezTo>
                    <a:pt x="46923" y="7171"/>
                    <a:pt x="37494" y="11354"/>
                    <a:pt x="28790" y="16732"/>
                  </a:cubicBezTo>
                  <a:cubicBezTo>
                    <a:pt x="25889" y="18525"/>
                    <a:pt x="24438" y="20915"/>
                    <a:pt x="23713" y="23306"/>
                  </a:cubicBezTo>
                  <a:lnTo>
                    <a:pt x="503" y="109955"/>
                  </a:lnTo>
                  <a:cubicBezTo>
                    <a:pt x="-1673" y="116529"/>
                    <a:pt x="3404" y="123700"/>
                    <a:pt x="12108" y="124895"/>
                  </a:cubicBezTo>
                  <a:cubicBezTo>
                    <a:pt x="12833" y="124895"/>
                    <a:pt x="13558" y="124895"/>
                    <a:pt x="14284" y="124895"/>
                  </a:cubicBezTo>
                  <a:cubicBezTo>
                    <a:pt x="20812" y="124895"/>
                    <a:pt x="26614" y="121309"/>
                    <a:pt x="28790" y="115334"/>
                  </a:cubicBezTo>
                  <a:lnTo>
                    <a:pt x="50550" y="35855"/>
                  </a:lnTo>
                  <a:lnTo>
                    <a:pt x="50550" y="78283"/>
                  </a:lnTo>
                  <a:lnTo>
                    <a:pt x="28790" y="167323"/>
                  </a:lnTo>
                  <a:lnTo>
                    <a:pt x="50550" y="167323"/>
                  </a:lnTo>
                  <a:lnTo>
                    <a:pt x="50550" y="268913"/>
                  </a:lnTo>
                  <a:lnTo>
                    <a:pt x="79563" y="268913"/>
                  </a:lnTo>
                  <a:lnTo>
                    <a:pt x="79563" y="167323"/>
                  </a:lnTo>
                  <a:lnTo>
                    <a:pt x="94069" y="167323"/>
                  </a:lnTo>
                  <a:lnTo>
                    <a:pt x="94069" y="268913"/>
                  </a:lnTo>
                  <a:lnTo>
                    <a:pt x="123082" y="268913"/>
                  </a:lnTo>
                  <a:lnTo>
                    <a:pt x="123082" y="167323"/>
                  </a:lnTo>
                  <a:lnTo>
                    <a:pt x="144842" y="167323"/>
                  </a:lnTo>
                  <a:lnTo>
                    <a:pt x="123082" y="78283"/>
                  </a:lnTo>
                  <a:lnTo>
                    <a:pt x="123082" y="35855"/>
                  </a:lnTo>
                  <a:lnTo>
                    <a:pt x="144842" y="115931"/>
                  </a:lnTo>
                  <a:cubicBezTo>
                    <a:pt x="146292" y="121309"/>
                    <a:pt x="152095" y="125493"/>
                    <a:pt x="158623" y="125493"/>
                  </a:cubicBezTo>
                  <a:lnTo>
                    <a:pt x="158623" y="125493"/>
                  </a:lnTo>
                  <a:cubicBezTo>
                    <a:pt x="165151" y="125493"/>
                    <a:pt x="170953" y="121907"/>
                    <a:pt x="172404" y="115931"/>
                  </a:cubicBezTo>
                  <a:lnTo>
                    <a:pt x="195614" y="35855"/>
                  </a:lnTo>
                  <a:lnTo>
                    <a:pt x="195614" y="131468"/>
                  </a:lnTo>
                  <a:lnTo>
                    <a:pt x="195614" y="268913"/>
                  </a:lnTo>
                  <a:lnTo>
                    <a:pt x="224627" y="268913"/>
                  </a:lnTo>
                  <a:lnTo>
                    <a:pt x="224627" y="131468"/>
                  </a:lnTo>
                  <a:lnTo>
                    <a:pt x="239133" y="131468"/>
                  </a:lnTo>
                  <a:lnTo>
                    <a:pt x="239133" y="268913"/>
                  </a:lnTo>
                  <a:lnTo>
                    <a:pt x="268146" y="268913"/>
                  </a:lnTo>
                  <a:lnTo>
                    <a:pt x="268146" y="131468"/>
                  </a:lnTo>
                  <a:lnTo>
                    <a:pt x="268146" y="35855"/>
                  </a:lnTo>
                  <a:lnTo>
                    <a:pt x="289906" y="115931"/>
                  </a:lnTo>
                  <a:cubicBezTo>
                    <a:pt x="291357" y="121309"/>
                    <a:pt x="297159" y="125493"/>
                    <a:pt x="304412" y="125493"/>
                  </a:cubicBezTo>
                  <a:cubicBezTo>
                    <a:pt x="304412" y="125493"/>
                    <a:pt x="304412" y="125493"/>
                    <a:pt x="304412" y="125493"/>
                  </a:cubicBezTo>
                  <a:lnTo>
                    <a:pt x="304412" y="125493"/>
                  </a:lnTo>
                  <a:cubicBezTo>
                    <a:pt x="310940" y="125493"/>
                    <a:pt x="316743" y="121907"/>
                    <a:pt x="318194" y="115931"/>
                  </a:cubicBezTo>
                  <a:lnTo>
                    <a:pt x="340679" y="35855"/>
                  </a:lnTo>
                  <a:lnTo>
                    <a:pt x="340679" y="78881"/>
                  </a:lnTo>
                  <a:lnTo>
                    <a:pt x="318919" y="167323"/>
                  </a:lnTo>
                  <a:lnTo>
                    <a:pt x="340679" y="167323"/>
                  </a:lnTo>
                  <a:lnTo>
                    <a:pt x="340679" y="268913"/>
                  </a:lnTo>
                  <a:lnTo>
                    <a:pt x="369691" y="268913"/>
                  </a:lnTo>
                  <a:lnTo>
                    <a:pt x="369691" y="167323"/>
                  </a:lnTo>
                  <a:lnTo>
                    <a:pt x="384198" y="167323"/>
                  </a:lnTo>
                  <a:lnTo>
                    <a:pt x="384198" y="268913"/>
                  </a:lnTo>
                  <a:lnTo>
                    <a:pt x="413211" y="268913"/>
                  </a:lnTo>
                  <a:lnTo>
                    <a:pt x="413211" y="167323"/>
                  </a:lnTo>
                  <a:lnTo>
                    <a:pt x="434970" y="167323"/>
                  </a:lnTo>
                  <a:lnTo>
                    <a:pt x="413211" y="77686"/>
                  </a:lnTo>
                  <a:lnTo>
                    <a:pt x="413211" y="35855"/>
                  </a:lnTo>
                  <a:lnTo>
                    <a:pt x="434970" y="115931"/>
                  </a:lnTo>
                  <a:cubicBezTo>
                    <a:pt x="436421" y="121309"/>
                    <a:pt x="442224" y="125493"/>
                    <a:pt x="449477" y="125493"/>
                  </a:cubicBezTo>
                  <a:cubicBezTo>
                    <a:pt x="449477" y="125493"/>
                    <a:pt x="449477" y="125493"/>
                    <a:pt x="449477" y="125493"/>
                  </a:cubicBezTo>
                  <a:lnTo>
                    <a:pt x="449477" y="125493"/>
                  </a:lnTo>
                  <a:cubicBezTo>
                    <a:pt x="449477" y="125493"/>
                    <a:pt x="449477" y="125493"/>
                    <a:pt x="449477" y="125493"/>
                  </a:cubicBezTo>
                  <a:cubicBezTo>
                    <a:pt x="456005" y="125493"/>
                    <a:pt x="461807" y="121907"/>
                    <a:pt x="463983" y="115931"/>
                  </a:cubicBezTo>
                  <a:lnTo>
                    <a:pt x="485743" y="35855"/>
                  </a:lnTo>
                  <a:lnTo>
                    <a:pt x="485743" y="131468"/>
                  </a:lnTo>
                  <a:lnTo>
                    <a:pt x="485743" y="268913"/>
                  </a:lnTo>
                  <a:lnTo>
                    <a:pt x="514756" y="268913"/>
                  </a:lnTo>
                  <a:lnTo>
                    <a:pt x="514756" y="131468"/>
                  </a:lnTo>
                  <a:lnTo>
                    <a:pt x="529262" y="131468"/>
                  </a:lnTo>
                  <a:lnTo>
                    <a:pt x="529262" y="268913"/>
                  </a:lnTo>
                  <a:lnTo>
                    <a:pt x="558275" y="268913"/>
                  </a:lnTo>
                  <a:lnTo>
                    <a:pt x="558275" y="131468"/>
                  </a:lnTo>
                  <a:lnTo>
                    <a:pt x="558275" y="35855"/>
                  </a:lnTo>
                  <a:lnTo>
                    <a:pt x="580035" y="115931"/>
                  </a:lnTo>
                  <a:cubicBezTo>
                    <a:pt x="581485" y="121309"/>
                    <a:pt x="587288" y="125493"/>
                    <a:pt x="594541" y="125493"/>
                  </a:cubicBezTo>
                  <a:cubicBezTo>
                    <a:pt x="595992" y="125493"/>
                    <a:pt x="598168" y="125493"/>
                    <a:pt x="599618" y="124895"/>
                  </a:cubicBezTo>
                  <a:cubicBezTo>
                    <a:pt x="606146" y="122505"/>
                    <a:pt x="609773" y="116529"/>
                    <a:pt x="608322" y="110553"/>
                  </a:cubicBezTo>
                  <a:close/>
                </a:path>
              </a:pathLst>
            </a:custGeom>
            <a:solidFill>
              <a:srgbClr val="FFC000"/>
            </a:solidFill>
            <a:ln w="7243" cap="flat">
              <a:noFill/>
              <a:prstDash val="solid"/>
              <a:miter/>
            </a:ln>
          </p:spPr>
          <p:txBody>
            <a:bodyPr rtlCol="0" anchor="ctr"/>
            <a:lstStyle/>
            <a:p>
              <a:endParaRPr lang="en-US" sz="2400"/>
            </a:p>
          </p:txBody>
        </p:sp>
      </p:grpSp>
      <p:grpSp>
        <p:nvGrpSpPr>
          <p:cNvPr id="391" name="Graphic 203" descr="Group">
            <a:extLst>
              <a:ext uri="{FF2B5EF4-FFF2-40B4-BE49-F238E27FC236}">
                <a16:creationId xmlns:a16="http://schemas.microsoft.com/office/drawing/2014/main" id="{22801D1D-2AFC-43D7-8BF4-DDE1523D8065}"/>
              </a:ext>
            </a:extLst>
          </p:cNvPr>
          <p:cNvGrpSpPr/>
          <p:nvPr/>
        </p:nvGrpSpPr>
        <p:grpSpPr>
          <a:xfrm>
            <a:off x="8624992" y="845733"/>
            <a:ext cx="749825" cy="470481"/>
            <a:chOff x="6285793" y="572129"/>
            <a:chExt cx="562369" cy="352861"/>
          </a:xfrm>
        </p:grpSpPr>
        <p:sp>
          <p:nvSpPr>
            <p:cNvPr id="392" name="Freeform: Shape 391">
              <a:extLst>
                <a:ext uri="{FF2B5EF4-FFF2-40B4-BE49-F238E27FC236}">
                  <a16:creationId xmlns:a16="http://schemas.microsoft.com/office/drawing/2014/main" id="{DB2B542A-C58B-43C9-B705-7DD663175096}"/>
                </a:ext>
              </a:extLst>
            </p:cNvPr>
            <p:cNvSpPr/>
            <p:nvPr/>
          </p:nvSpPr>
          <p:spPr>
            <a:xfrm>
              <a:off x="6739546"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393" name="Freeform: Shape 392">
              <a:extLst>
                <a:ext uri="{FF2B5EF4-FFF2-40B4-BE49-F238E27FC236}">
                  <a16:creationId xmlns:a16="http://schemas.microsoft.com/office/drawing/2014/main" id="{9CD16D64-00B3-4362-9E88-D72521A07803}"/>
                </a:ext>
              </a:extLst>
            </p:cNvPr>
            <p:cNvSpPr/>
            <p:nvPr/>
          </p:nvSpPr>
          <p:spPr>
            <a:xfrm>
              <a:off x="6333014"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394" name="Freeform: Shape 393">
              <a:extLst>
                <a:ext uri="{FF2B5EF4-FFF2-40B4-BE49-F238E27FC236}">
                  <a16:creationId xmlns:a16="http://schemas.microsoft.com/office/drawing/2014/main" id="{EB20B572-1998-429D-8068-1D1F80E8E43D}"/>
                </a:ext>
              </a:extLst>
            </p:cNvPr>
            <p:cNvSpPr/>
            <p:nvPr/>
          </p:nvSpPr>
          <p:spPr>
            <a:xfrm>
              <a:off x="660403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395" name="Freeform: Shape 394">
              <a:extLst>
                <a:ext uri="{FF2B5EF4-FFF2-40B4-BE49-F238E27FC236}">
                  <a16:creationId xmlns:a16="http://schemas.microsoft.com/office/drawing/2014/main" id="{9B7D6618-2B57-452F-9A15-46A5D7D9FEC1}"/>
                </a:ext>
              </a:extLst>
            </p:cNvPr>
            <p:cNvSpPr/>
            <p:nvPr/>
          </p:nvSpPr>
          <p:spPr>
            <a:xfrm>
              <a:off x="646852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396" name="Freeform: Shape 395">
              <a:extLst>
                <a:ext uri="{FF2B5EF4-FFF2-40B4-BE49-F238E27FC236}">
                  <a16:creationId xmlns:a16="http://schemas.microsoft.com/office/drawing/2014/main" id="{F1B77BB7-2C2A-44AC-B548-D0F5DE7113E1}"/>
                </a:ext>
              </a:extLst>
            </p:cNvPr>
            <p:cNvSpPr/>
            <p:nvPr/>
          </p:nvSpPr>
          <p:spPr>
            <a:xfrm>
              <a:off x="6285793" y="641441"/>
              <a:ext cx="562369" cy="283549"/>
            </a:xfrm>
            <a:custGeom>
              <a:avLst/>
              <a:gdLst>
                <a:gd name="connsiteX0" fmla="*/ 568259 w 562369"/>
                <a:gd name="connsiteY0" fmla="*/ 116570 h 283548"/>
                <a:gd name="connsiteX1" fmla="*/ 546577 w 562369"/>
                <a:gd name="connsiteY1" fmla="*/ 24574 h 283548"/>
                <a:gd name="connsiteX2" fmla="*/ 541834 w 562369"/>
                <a:gd name="connsiteY2" fmla="*/ 17643 h 283548"/>
                <a:gd name="connsiteX3" fmla="*/ 514732 w 562369"/>
                <a:gd name="connsiteY3" fmla="*/ 4411 h 283548"/>
                <a:gd name="connsiteX4" fmla="*/ 487630 w 562369"/>
                <a:gd name="connsiteY4" fmla="*/ 0 h 283548"/>
                <a:gd name="connsiteX5" fmla="*/ 460528 w 562369"/>
                <a:gd name="connsiteY5" fmla="*/ 4411 h 283548"/>
                <a:gd name="connsiteX6" fmla="*/ 433426 w 562369"/>
                <a:gd name="connsiteY6" fmla="*/ 17643 h 283548"/>
                <a:gd name="connsiteX7" fmla="*/ 428683 w 562369"/>
                <a:gd name="connsiteY7" fmla="*/ 24574 h 283548"/>
                <a:gd name="connsiteX8" fmla="*/ 419875 w 562369"/>
                <a:gd name="connsiteY8" fmla="*/ 61751 h 283548"/>
                <a:gd name="connsiteX9" fmla="*/ 419875 w 562369"/>
                <a:gd name="connsiteY9" fmla="*/ 61751 h 283548"/>
                <a:gd name="connsiteX10" fmla="*/ 411067 w 562369"/>
                <a:gd name="connsiteY10" fmla="*/ 24574 h 283548"/>
                <a:gd name="connsiteX11" fmla="*/ 406324 w 562369"/>
                <a:gd name="connsiteY11" fmla="*/ 17643 h 283548"/>
                <a:gd name="connsiteX12" fmla="*/ 379222 w 562369"/>
                <a:gd name="connsiteY12" fmla="*/ 4411 h 283548"/>
                <a:gd name="connsiteX13" fmla="*/ 352120 w 562369"/>
                <a:gd name="connsiteY13" fmla="*/ 0 h 283548"/>
                <a:gd name="connsiteX14" fmla="*/ 325017 w 562369"/>
                <a:gd name="connsiteY14" fmla="*/ 4411 h 283548"/>
                <a:gd name="connsiteX15" fmla="*/ 297915 w 562369"/>
                <a:gd name="connsiteY15" fmla="*/ 17643 h 283548"/>
                <a:gd name="connsiteX16" fmla="*/ 293172 w 562369"/>
                <a:gd name="connsiteY16" fmla="*/ 24574 h 283548"/>
                <a:gd name="connsiteX17" fmla="*/ 284364 w 562369"/>
                <a:gd name="connsiteY17" fmla="*/ 61121 h 283548"/>
                <a:gd name="connsiteX18" fmla="*/ 284364 w 562369"/>
                <a:gd name="connsiteY18" fmla="*/ 61751 h 283548"/>
                <a:gd name="connsiteX19" fmla="*/ 275556 w 562369"/>
                <a:gd name="connsiteY19" fmla="*/ 24574 h 283548"/>
                <a:gd name="connsiteX20" fmla="*/ 270813 w 562369"/>
                <a:gd name="connsiteY20" fmla="*/ 17643 h 283548"/>
                <a:gd name="connsiteX21" fmla="*/ 243711 w 562369"/>
                <a:gd name="connsiteY21" fmla="*/ 4411 h 283548"/>
                <a:gd name="connsiteX22" fmla="*/ 216609 w 562369"/>
                <a:gd name="connsiteY22" fmla="*/ 0 h 283548"/>
                <a:gd name="connsiteX23" fmla="*/ 189507 w 562369"/>
                <a:gd name="connsiteY23" fmla="*/ 4411 h 283548"/>
                <a:gd name="connsiteX24" fmla="*/ 162405 w 562369"/>
                <a:gd name="connsiteY24" fmla="*/ 17643 h 283548"/>
                <a:gd name="connsiteX25" fmla="*/ 157662 w 562369"/>
                <a:gd name="connsiteY25" fmla="*/ 24574 h 283548"/>
                <a:gd name="connsiteX26" fmla="*/ 148854 w 562369"/>
                <a:gd name="connsiteY26" fmla="*/ 61121 h 283548"/>
                <a:gd name="connsiteX27" fmla="*/ 148854 w 562369"/>
                <a:gd name="connsiteY27" fmla="*/ 61121 h 283548"/>
                <a:gd name="connsiteX28" fmla="*/ 140045 w 562369"/>
                <a:gd name="connsiteY28" fmla="*/ 24574 h 283548"/>
                <a:gd name="connsiteX29" fmla="*/ 135303 w 562369"/>
                <a:gd name="connsiteY29" fmla="*/ 17643 h 283548"/>
                <a:gd name="connsiteX30" fmla="*/ 108200 w 562369"/>
                <a:gd name="connsiteY30" fmla="*/ 4411 h 283548"/>
                <a:gd name="connsiteX31" fmla="*/ 81098 w 562369"/>
                <a:gd name="connsiteY31" fmla="*/ 0 h 283548"/>
                <a:gd name="connsiteX32" fmla="*/ 53996 w 562369"/>
                <a:gd name="connsiteY32" fmla="*/ 4411 h 283548"/>
                <a:gd name="connsiteX33" fmla="*/ 26894 w 562369"/>
                <a:gd name="connsiteY33" fmla="*/ 17643 h 283548"/>
                <a:gd name="connsiteX34" fmla="*/ 22151 w 562369"/>
                <a:gd name="connsiteY34" fmla="*/ 24574 h 283548"/>
                <a:gd name="connsiteX35" fmla="*/ 469 w 562369"/>
                <a:gd name="connsiteY35" fmla="*/ 115940 h 283548"/>
                <a:gd name="connsiteX36" fmla="*/ 11310 w 562369"/>
                <a:gd name="connsiteY36" fmla="*/ 131693 h 283548"/>
                <a:gd name="connsiteX37" fmla="*/ 13343 w 562369"/>
                <a:gd name="connsiteY37" fmla="*/ 131693 h 283548"/>
                <a:gd name="connsiteX38" fmla="*/ 26894 w 562369"/>
                <a:gd name="connsiteY38" fmla="*/ 121611 h 283548"/>
                <a:gd name="connsiteX39" fmla="*/ 47221 w 562369"/>
                <a:gd name="connsiteY39" fmla="*/ 37807 h 283548"/>
                <a:gd name="connsiteX40" fmla="*/ 47221 w 562369"/>
                <a:gd name="connsiteY40" fmla="*/ 82544 h 283548"/>
                <a:gd name="connsiteX41" fmla="*/ 26894 w 562369"/>
                <a:gd name="connsiteY41" fmla="*/ 176430 h 283548"/>
                <a:gd name="connsiteX42" fmla="*/ 47221 w 562369"/>
                <a:gd name="connsiteY42" fmla="*/ 176430 h 283548"/>
                <a:gd name="connsiteX43" fmla="*/ 47221 w 562369"/>
                <a:gd name="connsiteY43" fmla="*/ 283549 h 283548"/>
                <a:gd name="connsiteX44" fmla="*/ 74323 w 562369"/>
                <a:gd name="connsiteY44" fmla="*/ 283549 h 283548"/>
                <a:gd name="connsiteX45" fmla="*/ 74323 w 562369"/>
                <a:gd name="connsiteY45" fmla="*/ 176430 h 283548"/>
                <a:gd name="connsiteX46" fmla="*/ 87874 w 562369"/>
                <a:gd name="connsiteY46" fmla="*/ 176430 h 283548"/>
                <a:gd name="connsiteX47" fmla="*/ 87874 w 562369"/>
                <a:gd name="connsiteY47" fmla="*/ 283549 h 283548"/>
                <a:gd name="connsiteX48" fmla="*/ 114976 w 562369"/>
                <a:gd name="connsiteY48" fmla="*/ 283549 h 283548"/>
                <a:gd name="connsiteX49" fmla="*/ 114976 w 562369"/>
                <a:gd name="connsiteY49" fmla="*/ 176430 h 283548"/>
                <a:gd name="connsiteX50" fmla="*/ 135303 w 562369"/>
                <a:gd name="connsiteY50" fmla="*/ 176430 h 283548"/>
                <a:gd name="connsiteX51" fmla="*/ 114976 w 562369"/>
                <a:gd name="connsiteY51" fmla="*/ 82544 h 283548"/>
                <a:gd name="connsiteX52" fmla="*/ 114976 w 562369"/>
                <a:gd name="connsiteY52" fmla="*/ 37807 h 283548"/>
                <a:gd name="connsiteX53" fmla="*/ 135303 w 562369"/>
                <a:gd name="connsiteY53" fmla="*/ 122241 h 283548"/>
                <a:gd name="connsiteX54" fmla="*/ 148176 w 562369"/>
                <a:gd name="connsiteY54" fmla="*/ 132323 h 283548"/>
                <a:gd name="connsiteX55" fmla="*/ 148176 w 562369"/>
                <a:gd name="connsiteY55" fmla="*/ 132323 h 283548"/>
                <a:gd name="connsiteX56" fmla="*/ 161050 w 562369"/>
                <a:gd name="connsiteY56" fmla="*/ 122241 h 283548"/>
                <a:gd name="connsiteX57" fmla="*/ 182731 w 562369"/>
                <a:gd name="connsiteY57" fmla="*/ 37807 h 283548"/>
                <a:gd name="connsiteX58" fmla="*/ 182731 w 562369"/>
                <a:gd name="connsiteY58" fmla="*/ 138624 h 283548"/>
                <a:gd name="connsiteX59" fmla="*/ 182731 w 562369"/>
                <a:gd name="connsiteY59" fmla="*/ 283549 h 283548"/>
                <a:gd name="connsiteX60" fmla="*/ 209833 w 562369"/>
                <a:gd name="connsiteY60" fmla="*/ 283549 h 283548"/>
                <a:gd name="connsiteX61" fmla="*/ 209833 w 562369"/>
                <a:gd name="connsiteY61" fmla="*/ 138624 h 283548"/>
                <a:gd name="connsiteX62" fmla="*/ 223384 w 562369"/>
                <a:gd name="connsiteY62" fmla="*/ 138624 h 283548"/>
                <a:gd name="connsiteX63" fmla="*/ 223384 w 562369"/>
                <a:gd name="connsiteY63" fmla="*/ 283549 h 283548"/>
                <a:gd name="connsiteX64" fmla="*/ 250487 w 562369"/>
                <a:gd name="connsiteY64" fmla="*/ 283549 h 283548"/>
                <a:gd name="connsiteX65" fmla="*/ 250487 w 562369"/>
                <a:gd name="connsiteY65" fmla="*/ 138624 h 283548"/>
                <a:gd name="connsiteX66" fmla="*/ 250487 w 562369"/>
                <a:gd name="connsiteY66" fmla="*/ 37807 h 283548"/>
                <a:gd name="connsiteX67" fmla="*/ 270813 w 562369"/>
                <a:gd name="connsiteY67" fmla="*/ 122241 h 283548"/>
                <a:gd name="connsiteX68" fmla="*/ 284364 w 562369"/>
                <a:gd name="connsiteY68" fmla="*/ 132323 h 283548"/>
                <a:gd name="connsiteX69" fmla="*/ 284364 w 562369"/>
                <a:gd name="connsiteY69" fmla="*/ 132323 h 283548"/>
                <a:gd name="connsiteX70" fmla="*/ 284364 w 562369"/>
                <a:gd name="connsiteY70" fmla="*/ 132323 h 283548"/>
                <a:gd name="connsiteX71" fmla="*/ 297238 w 562369"/>
                <a:gd name="connsiteY71" fmla="*/ 122241 h 283548"/>
                <a:gd name="connsiteX72" fmla="*/ 318242 w 562369"/>
                <a:gd name="connsiteY72" fmla="*/ 37807 h 283548"/>
                <a:gd name="connsiteX73" fmla="*/ 318242 w 562369"/>
                <a:gd name="connsiteY73" fmla="*/ 83174 h 283548"/>
                <a:gd name="connsiteX74" fmla="*/ 297915 w 562369"/>
                <a:gd name="connsiteY74" fmla="*/ 176430 h 283548"/>
                <a:gd name="connsiteX75" fmla="*/ 318242 w 562369"/>
                <a:gd name="connsiteY75" fmla="*/ 176430 h 283548"/>
                <a:gd name="connsiteX76" fmla="*/ 318242 w 562369"/>
                <a:gd name="connsiteY76" fmla="*/ 283549 h 283548"/>
                <a:gd name="connsiteX77" fmla="*/ 345344 w 562369"/>
                <a:gd name="connsiteY77" fmla="*/ 283549 h 283548"/>
                <a:gd name="connsiteX78" fmla="*/ 345344 w 562369"/>
                <a:gd name="connsiteY78" fmla="*/ 176430 h 283548"/>
                <a:gd name="connsiteX79" fmla="*/ 358895 w 562369"/>
                <a:gd name="connsiteY79" fmla="*/ 176430 h 283548"/>
                <a:gd name="connsiteX80" fmla="*/ 358895 w 562369"/>
                <a:gd name="connsiteY80" fmla="*/ 283549 h 283548"/>
                <a:gd name="connsiteX81" fmla="*/ 385997 w 562369"/>
                <a:gd name="connsiteY81" fmla="*/ 283549 h 283548"/>
                <a:gd name="connsiteX82" fmla="*/ 385997 w 562369"/>
                <a:gd name="connsiteY82" fmla="*/ 176430 h 283548"/>
                <a:gd name="connsiteX83" fmla="*/ 406324 w 562369"/>
                <a:gd name="connsiteY83" fmla="*/ 176430 h 283548"/>
                <a:gd name="connsiteX84" fmla="*/ 385997 w 562369"/>
                <a:gd name="connsiteY84" fmla="*/ 81914 h 283548"/>
                <a:gd name="connsiteX85" fmla="*/ 385997 w 562369"/>
                <a:gd name="connsiteY85" fmla="*/ 37807 h 283548"/>
                <a:gd name="connsiteX86" fmla="*/ 406324 w 562369"/>
                <a:gd name="connsiteY86" fmla="*/ 122241 h 283548"/>
                <a:gd name="connsiteX87" fmla="*/ 419875 w 562369"/>
                <a:gd name="connsiteY87" fmla="*/ 132323 h 283548"/>
                <a:gd name="connsiteX88" fmla="*/ 419875 w 562369"/>
                <a:gd name="connsiteY88" fmla="*/ 132323 h 283548"/>
                <a:gd name="connsiteX89" fmla="*/ 419875 w 562369"/>
                <a:gd name="connsiteY89" fmla="*/ 132323 h 283548"/>
                <a:gd name="connsiteX90" fmla="*/ 419875 w 562369"/>
                <a:gd name="connsiteY90" fmla="*/ 132323 h 283548"/>
                <a:gd name="connsiteX91" fmla="*/ 433426 w 562369"/>
                <a:gd name="connsiteY91" fmla="*/ 122241 h 283548"/>
                <a:gd name="connsiteX92" fmla="*/ 453753 w 562369"/>
                <a:gd name="connsiteY92" fmla="*/ 37807 h 283548"/>
                <a:gd name="connsiteX93" fmla="*/ 453753 w 562369"/>
                <a:gd name="connsiteY93" fmla="*/ 138624 h 283548"/>
                <a:gd name="connsiteX94" fmla="*/ 453753 w 562369"/>
                <a:gd name="connsiteY94" fmla="*/ 283549 h 283548"/>
                <a:gd name="connsiteX95" fmla="*/ 480855 w 562369"/>
                <a:gd name="connsiteY95" fmla="*/ 283549 h 283548"/>
                <a:gd name="connsiteX96" fmla="*/ 480855 w 562369"/>
                <a:gd name="connsiteY96" fmla="*/ 138624 h 283548"/>
                <a:gd name="connsiteX97" fmla="*/ 494406 w 562369"/>
                <a:gd name="connsiteY97" fmla="*/ 138624 h 283548"/>
                <a:gd name="connsiteX98" fmla="*/ 494406 w 562369"/>
                <a:gd name="connsiteY98" fmla="*/ 283549 h 283548"/>
                <a:gd name="connsiteX99" fmla="*/ 521508 w 562369"/>
                <a:gd name="connsiteY99" fmla="*/ 283549 h 283548"/>
                <a:gd name="connsiteX100" fmla="*/ 521508 w 562369"/>
                <a:gd name="connsiteY100" fmla="*/ 138624 h 283548"/>
                <a:gd name="connsiteX101" fmla="*/ 521508 w 562369"/>
                <a:gd name="connsiteY101" fmla="*/ 37807 h 283548"/>
                <a:gd name="connsiteX102" fmla="*/ 541834 w 562369"/>
                <a:gd name="connsiteY102" fmla="*/ 122241 h 283548"/>
                <a:gd name="connsiteX103" fmla="*/ 555386 w 562369"/>
                <a:gd name="connsiteY103" fmla="*/ 132323 h 283548"/>
                <a:gd name="connsiteX104" fmla="*/ 560128 w 562369"/>
                <a:gd name="connsiteY104" fmla="*/ 131693 h 283548"/>
                <a:gd name="connsiteX105" fmla="*/ 568259 w 562369"/>
                <a:gd name="connsiteY105" fmla="*/ 116570 h 28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62369" h="283548">
                  <a:moveTo>
                    <a:pt x="568259" y="116570"/>
                  </a:moveTo>
                  <a:lnTo>
                    <a:pt x="546577" y="24574"/>
                  </a:lnTo>
                  <a:cubicBezTo>
                    <a:pt x="545900" y="22054"/>
                    <a:pt x="544545" y="19533"/>
                    <a:pt x="541834" y="17643"/>
                  </a:cubicBezTo>
                  <a:cubicBezTo>
                    <a:pt x="533704" y="11972"/>
                    <a:pt x="524896" y="6931"/>
                    <a:pt x="514732" y="4411"/>
                  </a:cubicBezTo>
                  <a:cubicBezTo>
                    <a:pt x="505924" y="1890"/>
                    <a:pt x="497116" y="0"/>
                    <a:pt x="487630" y="0"/>
                  </a:cubicBezTo>
                  <a:cubicBezTo>
                    <a:pt x="478144" y="0"/>
                    <a:pt x="468659" y="1260"/>
                    <a:pt x="460528" y="4411"/>
                  </a:cubicBezTo>
                  <a:cubicBezTo>
                    <a:pt x="450365" y="7561"/>
                    <a:pt x="441557" y="11972"/>
                    <a:pt x="433426" y="17643"/>
                  </a:cubicBezTo>
                  <a:cubicBezTo>
                    <a:pt x="430716" y="19533"/>
                    <a:pt x="429361" y="22054"/>
                    <a:pt x="428683" y="24574"/>
                  </a:cubicBezTo>
                  <a:lnTo>
                    <a:pt x="419875" y="61751"/>
                  </a:lnTo>
                  <a:lnTo>
                    <a:pt x="419875" y="61751"/>
                  </a:lnTo>
                  <a:lnTo>
                    <a:pt x="411067" y="24574"/>
                  </a:lnTo>
                  <a:cubicBezTo>
                    <a:pt x="410389" y="22054"/>
                    <a:pt x="409034" y="19533"/>
                    <a:pt x="406324" y="17643"/>
                  </a:cubicBezTo>
                  <a:cubicBezTo>
                    <a:pt x="398193" y="11972"/>
                    <a:pt x="389385" y="6931"/>
                    <a:pt x="379222" y="4411"/>
                  </a:cubicBezTo>
                  <a:cubicBezTo>
                    <a:pt x="370414" y="1890"/>
                    <a:pt x="361605" y="0"/>
                    <a:pt x="352120" y="0"/>
                  </a:cubicBezTo>
                  <a:cubicBezTo>
                    <a:pt x="342634" y="0"/>
                    <a:pt x="333148" y="1260"/>
                    <a:pt x="325017" y="4411"/>
                  </a:cubicBezTo>
                  <a:cubicBezTo>
                    <a:pt x="314854" y="7561"/>
                    <a:pt x="306046" y="11972"/>
                    <a:pt x="297915" y="17643"/>
                  </a:cubicBezTo>
                  <a:cubicBezTo>
                    <a:pt x="295205" y="19533"/>
                    <a:pt x="293850" y="22054"/>
                    <a:pt x="293172" y="24574"/>
                  </a:cubicBezTo>
                  <a:lnTo>
                    <a:pt x="284364" y="61121"/>
                  </a:lnTo>
                  <a:lnTo>
                    <a:pt x="284364" y="61751"/>
                  </a:lnTo>
                  <a:lnTo>
                    <a:pt x="275556" y="24574"/>
                  </a:lnTo>
                  <a:cubicBezTo>
                    <a:pt x="274878" y="22054"/>
                    <a:pt x="273523" y="19533"/>
                    <a:pt x="270813" y="17643"/>
                  </a:cubicBezTo>
                  <a:cubicBezTo>
                    <a:pt x="262683" y="11972"/>
                    <a:pt x="253874" y="6931"/>
                    <a:pt x="243711" y="4411"/>
                  </a:cubicBezTo>
                  <a:cubicBezTo>
                    <a:pt x="234903" y="1890"/>
                    <a:pt x="226095" y="0"/>
                    <a:pt x="216609" y="0"/>
                  </a:cubicBezTo>
                  <a:cubicBezTo>
                    <a:pt x="207123" y="0"/>
                    <a:pt x="197637" y="1260"/>
                    <a:pt x="189507" y="4411"/>
                  </a:cubicBezTo>
                  <a:cubicBezTo>
                    <a:pt x="179344" y="7561"/>
                    <a:pt x="170535" y="11972"/>
                    <a:pt x="162405" y="17643"/>
                  </a:cubicBezTo>
                  <a:cubicBezTo>
                    <a:pt x="159694" y="19533"/>
                    <a:pt x="158339" y="22054"/>
                    <a:pt x="157662" y="24574"/>
                  </a:cubicBezTo>
                  <a:lnTo>
                    <a:pt x="148854" y="61121"/>
                  </a:lnTo>
                  <a:lnTo>
                    <a:pt x="148854" y="61121"/>
                  </a:lnTo>
                  <a:lnTo>
                    <a:pt x="140045" y="24574"/>
                  </a:lnTo>
                  <a:cubicBezTo>
                    <a:pt x="139368" y="22054"/>
                    <a:pt x="138013" y="19533"/>
                    <a:pt x="135303" y="17643"/>
                  </a:cubicBezTo>
                  <a:cubicBezTo>
                    <a:pt x="127172" y="11972"/>
                    <a:pt x="118364" y="6931"/>
                    <a:pt x="108200" y="4411"/>
                  </a:cubicBezTo>
                  <a:cubicBezTo>
                    <a:pt x="99392" y="1890"/>
                    <a:pt x="90584" y="0"/>
                    <a:pt x="81098" y="0"/>
                  </a:cubicBezTo>
                  <a:cubicBezTo>
                    <a:pt x="71613" y="0"/>
                    <a:pt x="62127" y="1260"/>
                    <a:pt x="53996" y="4411"/>
                  </a:cubicBezTo>
                  <a:cubicBezTo>
                    <a:pt x="43833" y="7561"/>
                    <a:pt x="35025" y="11972"/>
                    <a:pt x="26894" y="17643"/>
                  </a:cubicBezTo>
                  <a:cubicBezTo>
                    <a:pt x="24184" y="19533"/>
                    <a:pt x="22829" y="22054"/>
                    <a:pt x="22151" y="24574"/>
                  </a:cubicBezTo>
                  <a:lnTo>
                    <a:pt x="469" y="115940"/>
                  </a:lnTo>
                  <a:cubicBezTo>
                    <a:pt x="-1563" y="122871"/>
                    <a:pt x="3180" y="130432"/>
                    <a:pt x="11310" y="131693"/>
                  </a:cubicBezTo>
                  <a:cubicBezTo>
                    <a:pt x="11988" y="131693"/>
                    <a:pt x="12665" y="131693"/>
                    <a:pt x="13343" y="131693"/>
                  </a:cubicBezTo>
                  <a:cubicBezTo>
                    <a:pt x="19441" y="131693"/>
                    <a:pt x="24861" y="127912"/>
                    <a:pt x="26894" y="121611"/>
                  </a:cubicBezTo>
                  <a:lnTo>
                    <a:pt x="47221" y="37807"/>
                  </a:lnTo>
                  <a:lnTo>
                    <a:pt x="47221" y="82544"/>
                  </a:lnTo>
                  <a:lnTo>
                    <a:pt x="26894" y="176430"/>
                  </a:lnTo>
                  <a:lnTo>
                    <a:pt x="47221" y="176430"/>
                  </a:lnTo>
                  <a:lnTo>
                    <a:pt x="47221" y="283549"/>
                  </a:lnTo>
                  <a:lnTo>
                    <a:pt x="74323" y="283549"/>
                  </a:lnTo>
                  <a:lnTo>
                    <a:pt x="74323" y="176430"/>
                  </a:lnTo>
                  <a:lnTo>
                    <a:pt x="87874" y="176430"/>
                  </a:lnTo>
                  <a:lnTo>
                    <a:pt x="87874" y="283549"/>
                  </a:lnTo>
                  <a:lnTo>
                    <a:pt x="114976" y="283549"/>
                  </a:lnTo>
                  <a:lnTo>
                    <a:pt x="114976" y="176430"/>
                  </a:lnTo>
                  <a:lnTo>
                    <a:pt x="135303" y="176430"/>
                  </a:lnTo>
                  <a:lnTo>
                    <a:pt x="114976" y="82544"/>
                  </a:lnTo>
                  <a:lnTo>
                    <a:pt x="114976" y="37807"/>
                  </a:lnTo>
                  <a:lnTo>
                    <a:pt x="135303" y="122241"/>
                  </a:lnTo>
                  <a:cubicBezTo>
                    <a:pt x="136658" y="127912"/>
                    <a:pt x="142078" y="132323"/>
                    <a:pt x="148176" y="132323"/>
                  </a:cubicBezTo>
                  <a:lnTo>
                    <a:pt x="148176" y="132323"/>
                  </a:lnTo>
                  <a:cubicBezTo>
                    <a:pt x="154274" y="132323"/>
                    <a:pt x="159694" y="128542"/>
                    <a:pt x="161050" y="122241"/>
                  </a:cubicBezTo>
                  <a:lnTo>
                    <a:pt x="182731" y="37807"/>
                  </a:lnTo>
                  <a:lnTo>
                    <a:pt x="182731" y="138624"/>
                  </a:lnTo>
                  <a:lnTo>
                    <a:pt x="182731" y="283549"/>
                  </a:lnTo>
                  <a:lnTo>
                    <a:pt x="209833" y="283549"/>
                  </a:lnTo>
                  <a:lnTo>
                    <a:pt x="209833" y="138624"/>
                  </a:lnTo>
                  <a:lnTo>
                    <a:pt x="223384" y="138624"/>
                  </a:lnTo>
                  <a:lnTo>
                    <a:pt x="223384" y="283549"/>
                  </a:lnTo>
                  <a:lnTo>
                    <a:pt x="250487" y="283549"/>
                  </a:lnTo>
                  <a:lnTo>
                    <a:pt x="250487" y="138624"/>
                  </a:lnTo>
                  <a:lnTo>
                    <a:pt x="250487" y="37807"/>
                  </a:lnTo>
                  <a:lnTo>
                    <a:pt x="270813" y="122241"/>
                  </a:lnTo>
                  <a:cubicBezTo>
                    <a:pt x="272168" y="127912"/>
                    <a:pt x="277589" y="132323"/>
                    <a:pt x="284364" y="132323"/>
                  </a:cubicBezTo>
                  <a:cubicBezTo>
                    <a:pt x="284364" y="132323"/>
                    <a:pt x="284364" y="132323"/>
                    <a:pt x="284364" y="132323"/>
                  </a:cubicBezTo>
                  <a:lnTo>
                    <a:pt x="284364" y="132323"/>
                  </a:lnTo>
                  <a:cubicBezTo>
                    <a:pt x="290462" y="132323"/>
                    <a:pt x="295883" y="128542"/>
                    <a:pt x="297238" y="122241"/>
                  </a:cubicBezTo>
                  <a:lnTo>
                    <a:pt x="318242" y="37807"/>
                  </a:lnTo>
                  <a:lnTo>
                    <a:pt x="318242" y="83174"/>
                  </a:lnTo>
                  <a:lnTo>
                    <a:pt x="297915" y="176430"/>
                  </a:lnTo>
                  <a:lnTo>
                    <a:pt x="318242" y="176430"/>
                  </a:lnTo>
                  <a:lnTo>
                    <a:pt x="318242" y="283549"/>
                  </a:lnTo>
                  <a:lnTo>
                    <a:pt x="345344" y="283549"/>
                  </a:lnTo>
                  <a:lnTo>
                    <a:pt x="345344" y="176430"/>
                  </a:lnTo>
                  <a:lnTo>
                    <a:pt x="358895" y="176430"/>
                  </a:lnTo>
                  <a:lnTo>
                    <a:pt x="358895" y="283549"/>
                  </a:lnTo>
                  <a:lnTo>
                    <a:pt x="385997" y="283549"/>
                  </a:lnTo>
                  <a:lnTo>
                    <a:pt x="385997" y="176430"/>
                  </a:lnTo>
                  <a:lnTo>
                    <a:pt x="406324" y="176430"/>
                  </a:lnTo>
                  <a:lnTo>
                    <a:pt x="385997" y="81914"/>
                  </a:lnTo>
                  <a:lnTo>
                    <a:pt x="385997" y="37807"/>
                  </a:lnTo>
                  <a:lnTo>
                    <a:pt x="406324" y="122241"/>
                  </a:lnTo>
                  <a:cubicBezTo>
                    <a:pt x="407679" y="127912"/>
                    <a:pt x="413099" y="132323"/>
                    <a:pt x="419875" y="132323"/>
                  </a:cubicBezTo>
                  <a:cubicBezTo>
                    <a:pt x="419875" y="132323"/>
                    <a:pt x="419875" y="132323"/>
                    <a:pt x="419875" y="132323"/>
                  </a:cubicBezTo>
                  <a:lnTo>
                    <a:pt x="419875" y="132323"/>
                  </a:lnTo>
                  <a:cubicBezTo>
                    <a:pt x="419875" y="132323"/>
                    <a:pt x="419875" y="132323"/>
                    <a:pt x="419875" y="132323"/>
                  </a:cubicBezTo>
                  <a:cubicBezTo>
                    <a:pt x="425973" y="132323"/>
                    <a:pt x="431393" y="128542"/>
                    <a:pt x="433426" y="122241"/>
                  </a:cubicBezTo>
                  <a:lnTo>
                    <a:pt x="453753" y="37807"/>
                  </a:lnTo>
                  <a:lnTo>
                    <a:pt x="453753" y="138624"/>
                  </a:lnTo>
                  <a:lnTo>
                    <a:pt x="453753" y="283549"/>
                  </a:lnTo>
                  <a:lnTo>
                    <a:pt x="480855" y="283549"/>
                  </a:lnTo>
                  <a:lnTo>
                    <a:pt x="480855" y="138624"/>
                  </a:lnTo>
                  <a:lnTo>
                    <a:pt x="494406" y="138624"/>
                  </a:lnTo>
                  <a:lnTo>
                    <a:pt x="494406" y="283549"/>
                  </a:lnTo>
                  <a:lnTo>
                    <a:pt x="521508" y="283549"/>
                  </a:lnTo>
                  <a:lnTo>
                    <a:pt x="521508" y="138624"/>
                  </a:lnTo>
                  <a:lnTo>
                    <a:pt x="521508" y="37807"/>
                  </a:lnTo>
                  <a:lnTo>
                    <a:pt x="541834" y="122241"/>
                  </a:lnTo>
                  <a:cubicBezTo>
                    <a:pt x="543190" y="127912"/>
                    <a:pt x="548610" y="132323"/>
                    <a:pt x="555386" y="132323"/>
                  </a:cubicBezTo>
                  <a:cubicBezTo>
                    <a:pt x="556741" y="132323"/>
                    <a:pt x="558773" y="132323"/>
                    <a:pt x="560128" y="131693"/>
                  </a:cubicBezTo>
                  <a:cubicBezTo>
                    <a:pt x="566226" y="129172"/>
                    <a:pt x="569614" y="122871"/>
                    <a:pt x="568259" y="116570"/>
                  </a:cubicBezTo>
                  <a:close/>
                </a:path>
              </a:pathLst>
            </a:custGeom>
            <a:solidFill>
              <a:srgbClr val="FFC000"/>
            </a:solidFill>
            <a:ln w="6747" cap="flat">
              <a:noFill/>
              <a:prstDash val="solid"/>
              <a:miter/>
            </a:ln>
          </p:spPr>
          <p:txBody>
            <a:bodyPr rtlCol="0" anchor="ctr"/>
            <a:lstStyle/>
            <a:p>
              <a:endParaRPr lang="en-US" sz="2400"/>
            </a:p>
          </p:txBody>
        </p:sp>
      </p:grpSp>
      <p:grpSp>
        <p:nvGrpSpPr>
          <p:cNvPr id="397" name="Graphic 205" descr="Group">
            <a:extLst>
              <a:ext uri="{FF2B5EF4-FFF2-40B4-BE49-F238E27FC236}">
                <a16:creationId xmlns:a16="http://schemas.microsoft.com/office/drawing/2014/main" id="{97308EF1-DB19-4754-854D-74258BE11F96}"/>
              </a:ext>
            </a:extLst>
          </p:cNvPr>
          <p:cNvGrpSpPr/>
          <p:nvPr/>
        </p:nvGrpSpPr>
        <p:grpSpPr>
          <a:xfrm>
            <a:off x="10307053" y="843715"/>
            <a:ext cx="844172" cy="472780"/>
            <a:chOff x="7560077" y="594700"/>
            <a:chExt cx="633129" cy="354585"/>
          </a:xfrm>
        </p:grpSpPr>
        <p:sp>
          <p:nvSpPr>
            <p:cNvPr id="398" name="Freeform: Shape 397">
              <a:extLst>
                <a:ext uri="{FF2B5EF4-FFF2-40B4-BE49-F238E27FC236}">
                  <a16:creationId xmlns:a16="http://schemas.microsoft.com/office/drawing/2014/main" id="{9BDCFCEA-B0AE-4E17-B765-AD86CAE657BE}"/>
                </a:ext>
              </a:extLst>
            </p:cNvPr>
            <p:cNvSpPr/>
            <p:nvPr/>
          </p:nvSpPr>
          <p:spPr>
            <a:xfrm>
              <a:off x="8070923"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399" name="Freeform: Shape 398">
              <a:extLst>
                <a:ext uri="{FF2B5EF4-FFF2-40B4-BE49-F238E27FC236}">
                  <a16:creationId xmlns:a16="http://schemas.microsoft.com/office/drawing/2014/main" id="{671EC797-F378-4778-90BB-CFDC67A66824}"/>
                </a:ext>
              </a:extLst>
            </p:cNvPr>
            <p:cNvSpPr/>
            <p:nvPr/>
          </p:nvSpPr>
          <p:spPr>
            <a:xfrm>
              <a:off x="7613239"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400" name="Freeform: Shape 399">
              <a:extLst>
                <a:ext uri="{FF2B5EF4-FFF2-40B4-BE49-F238E27FC236}">
                  <a16:creationId xmlns:a16="http://schemas.microsoft.com/office/drawing/2014/main" id="{CF5B1EDC-D079-42F4-8F16-0D74D3580E53}"/>
                </a:ext>
              </a:extLst>
            </p:cNvPr>
            <p:cNvSpPr/>
            <p:nvPr/>
          </p:nvSpPr>
          <p:spPr>
            <a:xfrm>
              <a:off x="7918361"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401" name="Freeform: Shape 400">
              <a:extLst>
                <a:ext uri="{FF2B5EF4-FFF2-40B4-BE49-F238E27FC236}">
                  <a16:creationId xmlns:a16="http://schemas.microsoft.com/office/drawing/2014/main" id="{9B5C25BC-4C6C-4FFE-BCF4-324492B73770}"/>
                </a:ext>
              </a:extLst>
            </p:cNvPr>
            <p:cNvSpPr/>
            <p:nvPr/>
          </p:nvSpPr>
          <p:spPr>
            <a:xfrm>
              <a:off x="7765800"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402" name="Freeform: Shape 401">
              <a:extLst>
                <a:ext uri="{FF2B5EF4-FFF2-40B4-BE49-F238E27FC236}">
                  <a16:creationId xmlns:a16="http://schemas.microsoft.com/office/drawing/2014/main" id="{DF921A4A-D281-43D2-A25A-4750B82EADAC}"/>
                </a:ext>
              </a:extLst>
            </p:cNvPr>
            <p:cNvSpPr/>
            <p:nvPr/>
          </p:nvSpPr>
          <p:spPr>
            <a:xfrm>
              <a:off x="7560077" y="664350"/>
              <a:ext cx="633129" cy="284935"/>
            </a:xfrm>
            <a:custGeom>
              <a:avLst/>
              <a:gdLst>
                <a:gd name="connsiteX0" fmla="*/ 639760 w 633129"/>
                <a:gd name="connsiteY0" fmla="*/ 117140 h 284934"/>
                <a:gd name="connsiteX1" fmla="*/ 615350 w 633129"/>
                <a:gd name="connsiteY1" fmla="*/ 24694 h 284934"/>
                <a:gd name="connsiteX2" fmla="*/ 610011 w 633129"/>
                <a:gd name="connsiteY2" fmla="*/ 17729 h 284934"/>
                <a:gd name="connsiteX3" fmla="*/ 579499 w 633129"/>
                <a:gd name="connsiteY3" fmla="*/ 4432 h 284934"/>
                <a:gd name="connsiteX4" fmla="*/ 548986 w 633129"/>
                <a:gd name="connsiteY4" fmla="*/ 0 h 284934"/>
                <a:gd name="connsiteX5" fmla="*/ 518474 w 633129"/>
                <a:gd name="connsiteY5" fmla="*/ 4432 h 284934"/>
                <a:gd name="connsiteX6" fmla="*/ 487962 w 633129"/>
                <a:gd name="connsiteY6" fmla="*/ 17729 h 284934"/>
                <a:gd name="connsiteX7" fmla="*/ 482622 w 633129"/>
                <a:gd name="connsiteY7" fmla="*/ 24694 h 284934"/>
                <a:gd name="connsiteX8" fmla="*/ 472706 w 633129"/>
                <a:gd name="connsiteY8" fmla="*/ 62052 h 284934"/>
                <a:gd name="connsiteX9" fmla="*/ 472706 w 633129"/>
                <a:gd name="connsiteY9" fmla="*/ 62052 h 284934"/>
                <a:gd name="connsiteX10" fmla="*/ 462789 w 633129"/>
                <a:gd name="connsiteY10" fmla="*/ 24694 h 284934"/>
                <a:gd name="connsiteX11" fmla="*/ 457450 w 633129"/>
                <a:gd name="connsiteY11" fmla="*/ 17729 h 284934"/>
                <a:gd name="connsiteX12" fmla="*/ 426937 w 633129"/>
                <a:gd name="connsiteY12" fmla="*/ 4432 h 284934"/>
                <a:gd name="connsiteX13" fmla="*/ 396425 w 633129"/>
                <a:gd name="connsiteY13" fmla="*/ 0 h 284934"/>
                <a:gd name="connsiteX14" fmla="*/ 365913 w 633129"/>
                <a:gd name="connsiteY14" fmla="*/ 4432 h 284934"/>
                <a:gd name="connsiteX15" fmla="*/ 335401 w 633129"/>
                <a:gd name="connsiteY15" fmla="*/ 17729 h 284934"/>
                <a:gd name="connsiteX16" fmla="*/ 330061 w 633129"/>
                <a:gd name="connsiteY16" fmla="*/ 24694 h 284934"/>
                <a:gd name="connsiteX17" fmla="*/ 320144 w 633129"/>
                <a:gd name="connsiteY17" fmla="*/ 61419 h 284934"/>
                <a:gd name="connsiteX18" fmla="*/ 320144 w 633129"/>
                <a:gd name="connsiteY18" fmla="*/ 62052 h 284934"/>
                <a:gd name="connsiteX19" fmla="*/ 310228 w 633129"/>
                <a:gd name="connsiteY19" fmla="*/ 24694 h 284934"/>
                <a:gd name="connsiteX20" fmla="*/ 304888 w 633129"/>
                <a:gd name="connsiteY20" fmla="*/ 17729 h 284934"/>
                <a:gd name="connsiteX21" fmla="*/ 274376 w 633129"/>
                <a:gd name="connsiteY21" fmla="*/ 4432 h 284934"/>
                <a:gd name="connsiteX22" fmla="*/ 243864 w 633129"/>
                <a:gd name="connsiteY22" fmla="*/ 0 h 284934"/>
                <a:gd name="connsiteX23" fmla="*/ 213352 w 633129"/>
                <a:gd name="connsiteY23" fmla="*/ 4432 h 284934"/>
                <a:gd name="connsiteX24" fmla="*/ 182839 w 633129"/>
                <a:gd name="connsiteY24" fmla="*/ 17729 h 284934"/>
                <a:gd name="connsiteX25" fmla="*/ 177500 w 633129"/>
                <a:gd name="connsiteY25" fmla="*/ 24694 h 284934"/>
                <a:gd name="connsiteX26" fmla="*/ 167583 w 633129"/>
                <a:gd name="connsiteY26" fmla="*/ 61419 h 284934"/>
                <a:gd name="connsiteX27" fmla="*/ 167583 w 633129"/>
                <a:gd name="connsiteY27" fmla="*/ 61419 h 284934"/>
                <a:gd name="connsiteX28" fmla="*/ 157667 w 633129"/>
                <a:gd name="connsiteY28" fmla="*/ 24694 h 284934"/>
                <a:gd name="connsiteX29" fmla="*/ 152327 w 633129"/>
                <a:gd name="connsiteY29" fmla="*/ 17729 h 284934"/>
                <a:gd name="connsiteX30" fmla="*/ 121815 w 633129"/>
                <a:gd name="connsiteY30" fmla="*/ 4432 h 284934"/>
                <a:gd name="connsiteX31" fmla="*/ 91302 w 633129"/>
                <a:gd name="connsiteY31" fmla="*/ 0 h 284934"/>
                <a:gd name="connsiteX32" fmla="*/ 60790 w 633129"/>
                <a:gd name="connsiteY32" fmla="*/ 4432 h 284934"/>
                <a:gd name="connsiteX33" fmla="*/ 30278 w 633129"/>
                <a:gd name="connsiteY33" fmla="*/ 17729 h 284934"/>
                <a:gd name="connsiteX34" fmla="*/ 24938 w 633129"/>
                <a:gd name="connsiteY34" fmla="*/ 24694 h 284934"/>
                <a:gd name="connsiteX35" fmla="*/ 529 w 633129"/>
                <a:gd name="connsiteY35" fmla="*/ 116507 h 284934"/>
                <a:gd name="connsiteX36" fmla="*/ 12733 w 633129"/>
                <a:gd name="connsiteY36" fmla="*/ 132336 h 284934"/>
                <a:gd name="connsiteX37" fmla="*/ 15022 w 633129"/>
                <a:gd name="connsiteY37" fmla="*/ 132336 h 284934"/>
                <a:gd name="connsiteX38" fmla="*/ 30278 w 633129"/>
                <a:gd name="connsiteY38" fmla="*/ 122205 h 284934"/>
                <a:gd name="connsiteX39" fmla="*/ 53162 w 633129"/>
                <a:gd name="connsiteY39" fmla="*/ 37991 h 284934"/>
                <a:gd name="connsiteX40" fmla="*/ 53162 w 633129"/>
                <a:gd name="connsiteY40" fmla="*/ 82948 h 284934"/>
                <a:gd name="connsiteX41" fmla="*/ 30278 w 633129"/>
                <a:gd name="connsiteY41" fmla="*/ 177293 h 284934"/>
                <a:gd name="connsiteX42" fmla="*/ 53162 w 633129"/>
                <a:gd name="connsiteY42" fmla="*/ 177293 h 284934"/>
                <a:gd name="connsiteX43" fmla="*/ 53162 w 633129"/>
                <a:gd name="connsiteY43" fmla="*/ 284935 h 284934"/>
                <a:gd name="connsiteX44" fmla="*/ 83674 w 633129"/>
                <a:gd name="connsiteY44" fmla="*/ 284935 h 284934"/>
                <a:gd name="connsiteX45" fmla="*/ 83674 w 633129"/>
                <a:gd name="connsiteY45" fmla="*/ 177293 h 284934"/>
                <a:gd name="connsiteX46" fmla="*/ 98931 w 633129"/>
                <a:gd name="connsiteY46" fmla="*/ 177293 h 284934"/>
                <a:gd name="connsiteX47" fmla="*/ 98931 w 633129"/>
                <a:gd name="connsiteY47" fmla="*/ 284935 h 284934"/>
                <a:gd name="connsiteX48" fmla="*/ 129443 w 633129"/>
                <a:gd name="connsiteY48" fmla="*/ 284935 h 284934"/>
                <a:gd name="connsiteX49" fmla="*/ 129443 w 633129"/>
                <a:gd name="connsiteY49" fmla="*/ 177293 h 284934"/>
                <a:gd name="connsiteX50" fmla="*/ 152327 w 633129"/>
                <a:gd name="connsiteY50" fmla="*/ 177293 h 284934"/>
                <a:gd name="connsiteX51" fmla="*/ 129443 w 633129"/>
                <a:gd name="connsiteY51" fmla="*/ 82948 h 284934"/>
                <a:gd name="connsiteX52" fmla="*/ 129443 w 633129"/>
                <a:gd name="connsiteY52" fmla="*/ 37991 h 284934"/>
                <a:gd name="connsiteX53" fmla="*/ 152327 w 633129"/>
                <a:gd name="connsiteY53" fmla="*/ 122839 h 284934"/>
                <a:gd name="connsiteX54" fmla="*/ 166820 w 633129"/>
                <a:gd name="connsiteY54" fmla="*/ 132970 h 284934"/>
                <a:gd name="connsiteX55" fmla="*/ 166820 w 633129"/>
                <a:gd name="connsiteY55" fmla="*/ 132970 h 284934"/>
                <a:gd name="connsiteX56" fmla="*/ 181314 w 633129"/>
                <a:gd name="connsiteY56" fmla="*/ 122839 h 284934"/>
                <a:gd name="connsiteX57" fmla="*/ 205723 w 633129"/>
                <a:gd name="connsiteY57" fmla="*/ 37991 h 284934"/>
                <a:gd name="connsiteX58" fmla="*/ 205723 w 633129"/>
                <a:gd name="connsiteY58" fmla="*/ 139301 h 284934"/>
                <a:gd name="connsiteX59" fmla="*/ 205723 w 633129"/>
                <a:gd name="connsiteY59" fmla="*/ 284935 h 284934"/>
                <a:gd name="connsiteX60" fmla="*/ 236236 w 633129"/>
                <a:gd name="connsiteY60" fmla="*/ 284935 h 284934"/>
                <a:gd name="connsiteX61" fmla="*/ 236236 w 633129"/>
                <a:gd name="connsiteY61" fmla="*/ 139301 h 284934"/>
                <a:gd name="connsiteX62" fmla="*/ 251492 w 633129"/>
                <a:gd name="connsiteY62" fmla="*/ 139301 h 284934"/>
                <a:gd name="connsiteX63" fmla="*/ 251492 w 633129"/>
                <a:gd name="connsiteY63" fmla="*/ 284935 h 284934"/>
                <a:gd name="connsiteX64" fmla="*/ 282004 w 633129"/>
                <a:gd name="connsiteY64" fmla="*/ 284935 h 284934"/>
                <a:gd name="connsiteX65" fmla="*/ 282004 w 633129"/>
                <a:gd name="connsiteY65" fmla="*/ 139301 h 284934"/>
                <a:gd name="connsiteX66" fmla="*/ 282004 w 633129"/>
                <a:gd name="connsiteY66" fmla="*/ 37991 h 284934"/>
                <a:gd name="connsiteX67" fmla="*/ 304888 w 633129"/>
                <a:gd name="connsiteY67" fmla="*/ 122839 h 284934"/>
                <a:gd name="connsiteX68" fmla="*/ 320144 w 633129"/>
                <a:gd name="connsiteY68" fmla="*/ 132970 h 284934"/>
                <a:gd name="connsiteX69" fmla="*/ 320144 w 633129"/>
                <a:gd name="connsiteY69" fmla="*/ 132970 h 284934"/>
                <a:gd name="connsiteX70" fmla="*/ 320144 w 633129"/>
                <a:gd name="connsiteY70" fmla="*/ 132970 h 284934"/>
                <a:gd name="connsiteX71" fmla="*/ 334638 w 633129"/>
                <a:gd name="connsiteY71" fmla="*/ 122839 h 284934"/>
                <a:gd name="connsiteX72" fmla="*/ 358285 w 633129"/>
                <a:gd name="connsiteY72" fmla="*/ 37991 h 284934"/>
                <a:gd name="connsiteX73" fmla="*/ 358285 w 633129"/>
                <a:gd name="connsiteY73" fmla="*/ 83581 h 284934"/>
                <a:gd name="connsiteX74" fmla="*/ 335401 w 633129"/>
                <a:gd name="connsiteY74" fmla="*/ 177293 h 284934"/>
                <a:gd name="connsiteX75" fmla="*/ 358285 w 633129"/>
                <a:gd name="connsiteY75" fmla="*/ 177293 h 284934"/>
                <a:gd name="connsiteX76" fmla="*/ 358285 w 633129"/>
                <a:gd name="connsiteY76" fmla="*/ 284935 h 284934"/>
                <a:gd name="connsiteX77" fmla="*/ 388797 w 633129"/>
                <a:gd name="connsiteY77" fmla="*/ 284935 h 284934"/>
                <a:gd name="connsiteX78" fmla="*/ 388797 w 633129"/>
                <a:gd name="connsiteY78" fmla="*/ 177293 h 284934"/>
                <a:gd name="connsiteX79" fmla="*/ 404053 w 633129"/>
                <a:gd name="connsiteY79" fmla="*/ 177293 h 284934"/>
                <a:gd name="connsiteX80" fmla="*/ 404053 w 633129"/>
                <a:gd name="connsiteY80" fmla="*/ 284935 h 284934"/>
                <a:gd name="connsiteX81" fmla="*/ 434565 w 633129"/>
                <a:gd name="connsiteY81" fmla="*/ 284935 h 284934"/>
                <a:gd name="connsiteX82" fmla="*/ 434565 w 633129"/>
                <a:gd name="connsiteY82" fmla="*/ 177293 h 284934"/>
                <a:gd name="connsiteX83" fmla="*/ 457450 w 633129"/>
                <a:gd name="connsiteY83" fmla="*/ 177293 h 284934"/>
                <a:gd name="connsiteX84" fmla="*/ 434565 w 633129"/>
                <a:gd name="connsiteY84" fmla="*/ 82315 h 284934"/>
                <a:gd name="connsiteX85" fmla="*/ 434565 w 633129"/>
                <a:gd name="connsiteY85" fmla="*/ 37991 h 284934"/>
                <a:gd name="connsiteX86" fmla="*/ 457450 w 633129"/>
                <a:gd name="connsiteY86" fmla="*/ 122839 h 284934"/>
                <a:gd name="connsiteX87" fmla="*/ 472706 w 633129"/>
                <a:gd name="connsiteY87" fmla="*/ 132970 h 284934"/>
                <a:gd name="connsiteX88" fmla="*/ 472706 w 633129"/>
                <a:gd name="connsiteY88" fmla="*/ 132970 h 284934"/>
                <a:gd name="connsiteX89" fmla="*/ 472706 w 633129"/>
                <a:gd name="connsiteY89" fmla="*/ 132970 h 284934"/>
                <a:gd name="connsiteX90" fmla="*/ 472706 w 633129"/>
                <a:gd name="connsiteY90" fmla="*/ 132970 h 284934"/>
                <a:gd name="connsiteX91" fmla="*/ 487962 w 633129"/>
                <a:gd name="connsiteY91" fmla="*/ 122839 h 284934"/>
                <a:gd name="connsiteX92" fmla="*/ 510846 w 633129"/>
                <a:gd name="connsiteY92" fmla="*/ 37991 h 284934"/>
                <a:gd name="connsiteX93" fmla="*/ 510846 w 633129"/>
                <a:gd name="connsiteY93" fmla="*/ 139301 h 284934"/>
                <a:gd name="connsiteX94" fmla="*/ 510846 w 633129"/>
                <a:gd name="connsiteY94" fmla="*/ 284935 h 284934"/>
                <a:gd name="connsiteX95" fmla="*/ 541358 w 633129"/>
                <a:gd name="connsiteY95" fmla="*/ 284935 h 284934"/>
                <a:gd name="connsiteX96" fmla="*/ 541358 w 633129"/>
                <a:gd name="connsiteY96" fmla="*/ 139301 h 284934"/>
                <a:gd name="connsiteX97" fmla="*/ 556614 w 633129"/>
                <a:gd name="connsiteY97" fmla="*/ 139301 h 284934"/>
                <a:gd name="connsiteX98" fmla="*/ 556614 w 633129"/>
                <a:gd name="connsiteY98" fmla="*/ 284935 h 284934"/>
                <a:gd name="connsiteX99" fmla="*/ 587127 w 633129"/>
                <a:gd name="connsiteY99" fmla="*/ 284935 h 284934"/>
                <a:gd name="connsiteX100" fmla="*/ 587127 w 633129"/>
                <a:gd name="connsiteY100" fmla="*/ 139301 h 284934"/>
                <a:gd name="connsiteX101" fmla="*/ 587127 w 633129"/>
                <a:gd name="connsiteY101" fmla="*/ 37991 h 284934"/>
                <a:gd name="connsiteX102" fmla="*/ 610011 w 633129"/>
                <a:gd name="connsiteY102" fmla="*/ 122839 h 284934"/>
                <a:gd name="connsiteX103" fmla="*/ 625267 w 633129"/>
                <a:gd name="connsiteY103" fmla="*/ 132970 h 284934"/>
                <a:gd name="connsiteX104" fmla="*/ 630607 w 633129"/>
                <a:gd name="connsiteY104" fmla="*/ 132336 h 284934"/>
                <a:gd name="connsiteX105" fmla="*/ 639760 w 633129"/>
                <a:gd name="connsiteY105" fmla="*/ 117140 h 2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33129" h="284934">
                  <a:moveTo>
                    <a:pt x="639760" y="117140"/>
                  </a:moveTo>
                  <a:lnTo>
                    <a:pt x="615350" y="24694"/>
                  </a:lnTo>
                  <a:cubicBezTo>
                    <a:pt x="614588" y="22162"/>
                    <a:pt x="613062" y="19629"/>
                    <a:pt x="610011" y="17729"/>
                  </a:cubicBezTo>
                  <a:cubicBezTo>
                    <a:pt x="600857" y="12031"/>
                    <a:pt x="590941" y="6965"/>
                    <a:pt x="579499" y="4432"/>
                  </a:cubicBezTo>
                  <a:cubicBezTo>
                    <a:pt x="569582" y="1900"/>
                    <a:pt x="559666" y="0"/>
                    <a:pt x="548986" y="0"/>
                  </a:cubicBezTo>
                  <a:cubicBezTo>
                    <a:pt x="538307" y="0"/>
                    <a:pt x="527628" y="1266"/>
                    <a:pt x="518474" y="4432"/>
                  </a:cubicBezTo>
                  <a:cubicBezTo>
                    <a:pt x="507032" y="7598"/>
                    <a:pt x="497115" y="12031"/>
                    <a:pt x="487962" y="17729"/>
                  </a:cubicBezTo>
                  <a:cubicBezTo>
                    <a:pt x="484911" y="19629"/>
                    <a:pt x="483385" y="22162"/>
                    <a:pt x="482622" y="24694"/>
                  </a:cubicBezTo>
                  <a:lnTo>
                    <a:pt x="472706" y="62052"/>
                  </a:lnTo>
                  <a:lnTo>
                    <a:pt x="472706" y="62052"/>
                  </a:lnTo>
                  <a:lnTo>
                    <a:pt x="462789" y="24694"/>
                  </a:lnTo>
                  <a:cubicBezTo>
                    <a:pt x="462026" y="22162"/>
                    <a:pt x="460501" y="19629"/>
                    <a:pt x="457450" y="17729"/>
                  </a:cubicBezTo>
                  <a:cubicBezTo>
                    <a:pt x="448296" y="12031"/>
                    <a:pt x="438379" y="6965"/>
                    <a:pt x="426937" y="4432"/>
                  </a:cubicBezTo>
                  <a:cubicBezTo>
                    <a:pt x="417021" y="1900"/>
                    <a:pt x="407104" y="0"/>
                    <a:pt x="396425" y="0"/>
                  </a:cubicBezTo>
                  <a:cubicBezTo>
                    <a:pt x="385746" y="0"/>
                    <a:pt x="375066" y="1266"/>
                    <a:pt x="365913" y="4432"/>
                  </a:cubicBezTo>
                  <a:cubicBezTo>
                    <a:pt x="354471" y="7598"/>
                    <a:pt x="344554" y="12031"/>
                    <a:pt x="335401" y="17729"/>
                  </a:cubicBezTo>
                  <a:cubicBezTo>
                    <a:pt x="332349" y="19629"/>
                    <a:pt x="330824" y="22162"/>
                    <a:pt x="330061" y="24694"/>
                  </a:cubicBezTo>
                  <a:lnTo>
                    <a:pt x="320144" y="61419"/>
                  </a:lnTo>
                  <a:lnTo>
                    <a:pt x="320144" y="62052"/>
                  </a:lnTo>
                  <a:lnTo>
                    <a:pt x="310228" y="24694"/>
                  </a:lnTo>
                  <a:cubicBezTo>
                    <a:pt x="309465" y="22162"/>
                    <a:pt x="307939" y="19629"/>
                    <a:pt x="304888" y="17729"/>
                  </a:cubicBezTo>
                  <a:cubicBezTo>
                    <a:pt x="295735" y="12031"/>
                    <a:pt x="285818" y="6965"/>
                    <a:pt x="274376" y="4432"/>
                  </a:cubicBezTo>
                  <a:cubicBezTo>
                    <a:pt x="264460" y="1900"/>
                    <a:pt x="254543" y="0"/>
                    <a:pt x="243864" y="0"/>
                  </a:cubicBezTo>
                  <a:cubicBezTo>
                    <a:pt x="233184" y="0"/>
                    <a:pt x="222505" y="1266"/>
                    <a:pt x="213352" y="4432"/>
                  </a:cubicBezTo>
                  <a:cubicBezTo>
                    <a:pt x="201909" y="7598"/>
                    <a:pt x="191993" y="12031"/>
                    <a:pt x="182839" y="17729"/>
                  </a:cubicBezTo>
                  <a:cubicBezTo>
                    <a:pt x="179788" y="19629"/>
                    <a:pt x="178262" y="22162"/>
                    <a:pt x="177500" y="24694"/>
                  </a:cubicBezTo>
                  <a:lnTo>
                    <a:pt x="167583" y="61419"/>
                  </a:lnTo>
                  <a:lnTo>
                    <a:pt x="167583" y="61419"/>
                  </a:lnTo>
                  <a:lnTo>
                    <a:pt x="157667" y="24694"/>
                  </a:lnTo>
                  <a:cubicBezTo>
                    <a:pt x="156904" y="22162"/>
                    <a:pt x="155378" y="19629"/>
                    <a:pt x="152327" y="17729"/>
                  </a:cubicBezTo>
                  <a:cubicBezTo>
                    <a:pt x="143173" y="12031"/>
                    <a:pt x="133257" y="6965"/>
                    <a:pt x="121815" y="4432"/>
                  </a:cubicBezTo>
                  <a:cubicBezTo>
                    <a:pt x="111898" y="1900"/>
                    <a:pt x="101982" y="0"/>
                    <a:pt x="91302" y="0"/>
                  </a:cubicBezTo>
                  <a:cubicBezTo>
                    <a:pt x="80623" y="0"/>
                    <a:pt x="69944" y="1266"/>
                    <a:pt x="60790" y="4432"/>
                  </a:cubicBezTo>
                  <a:cubicBezTo>
                    <a:pt x="49348" y="7598"/>
                    <a:pt x="39432" y="12031"/>
                    <a:pt x="30278" y="17729"/>
                  </a:cubicBezTo>
                  <a:cubicBezTo>
                    <a:pt x="27227" y="19629"/>
                    <a:pt x="25701" y="22162"/>
                    <a:pt x="24938" y="24694"/>
                  </a:cubicBezTo>
                  <a:lnTo>
                    <a:pt x="529" y="116507"/>
                  </a:lnTo>
                  <a:cubicBezTo>
                    <a:pt x="-1760" y="123472"/>
                    <a:pt x="3580" y="131070"/>
                    <a:pt x="12733" y="132336"/>
                  </a:cubicBezTo>
                  <a:cubicBezTo>
                    <a:pt x="13496" y="132336"/>
                    <a:pt x="14259" y="132336"/>
                    <a:pt x="15022" y="132336"/>
                  </a:cubicBezTo>
                  <a:cubicBezTo>
                    <a:pt x="21887" y="132336"/>
                    <a:pt x="27990" y="128537"/>
                    <a:pt x="30278" y="122205"/>
                  </a:cubicBezTo>
                  <a:lnTo>
                    <a:pt x="53162" y="37991"/>
                  </a:lnTo>
                  <a:lnTo>
                    <a:pt x="53162" y="82948"/>
                  </a:lnTo>
                  <a:lnTo>
                    <a:pt x="30278" y="177293"/>
                  </a:lnTo>
                  <a:lnTo>
                    <a:pt x="53162" y="177293"/>
                  </a:lnTo>
                  <a:lnTo>
                    <a:pt x="53162" y="284935"/>
                  </a:lnTo>
                  <a:lnTo>
                    <a:pt x="83674" y="284935"/>
                  </a:lnTo>
                  <a:lnTo>
                    <a:pt x="83674" y="177293"/>
                  </a:lnTo>
                  <a:lnTo>
                    <a:pt x="98931" y="177293"/>
                  </a:lnTo>
                  <a:lnTo>
                    <a:pt x="98931" y="284935"/>
                  </a:lnTo>
                  <a:lnTo>
                    <a:pt x="129443" y="284935"/>
                  </a:lnTo>
                  <a:lnTo>
                    <a:pt x="129443" y="177293"/>
                  </a:lnTo>
                  <a:lnTo>
                    <a:pt x="152327" y="177293"/>
                  </a:lnTo>
                  <a:lnTo>
                    <a:pt x="129443" y="82948"/>
                  </a:lnTo>
                  <a:lnTo>
                    <a:pt x="129443" y="37991"/>
                  </a:lnTo>
                  <a:lnTo>
                    <a:pt x="152327" y="122839"/>
                  </a:lnTo>
                  <a:cubicBezTo>
                    <a:pt x="153853" y="128537"/>
                    <a:pt x="159955" y="132970"/>
                    <a:pt x="166820" y="132970"/>
                  </a:cubicBezTo>
                  <a:lnTo>
                    <a:pt x="166820" y="132970"/>
                  </a:lnTo>
                  <a:cubicBezTo>
                    <a:pt x="173686" y="132970"/>
                    <a:pt x="179788" y="129170"/>
                    <a:pt x="181314" y="122839"/>
                  </a:cubicBezTo>
                  <a:lnTo>
                    <a:pt x="205723" y="37991"/>
                  </a:lnTo>
                  <a:lnTo>
                    <a:pt x="205723" y="139301"/>
                  </a:lnTo>
                  <a:lnTo>
                    <a:pt x="205723" y="284935"/>
                  </a:lnTo>
                  <a:lnTo>
                    <a:pt x="236236" y="284935"/>
                  </a:lnTo>
                  <a:lnTo>
                    <a:pt x="236236" y="139301"/>
                  </a:lnTo>
                  <a:lnTo>
                    <a:pt x="251492" y="139301"/>
                  </a:lnTo>
                  <a:lnTo>
                    <a:pt x="251492" y="284935"/>
                  </a:lnTo>
                  <a:lnTo>
                    <a:pt x="282004" y="284935"/>
                  </a:lnTo>
                  <a:lnTo>
                    <a:pt x="282004" y="139301"/>
                  </a:lnTo>
                  <a:lnTo>
                    <a:pt x="282004" y="37991"/>
                  </a:lnTo>
                  <a:lnTo>
                    <a:pt x="304888" y="122839"/>
                  </a:lnTo>
                  <a:cubicBezTo>
                    <a:pt x="306414" y="128537"/>
                    <a:pt x="312516" y="132970"/>
                    <a:pt x="320144" y="132970"/>
                  </a:cubicBezTo>
                  <a:cubicBezTo>
                    <a:pt x="320144" y="132970"/>
                    <a:pt x="320144" y="132970"/>
                    <a:pt x="320144" y="132970"/>
                  </a:cubicBezTo>
                  <a:lnTo>
                    <a:pt x="320144" y="132970"/>
                  </a:lnTo>
                  <a:cubicBezTo>
                    <a:pt x="327010" y="132970"/>
                    <a:pt x="333112" y="129170"/>
                    <a:pt x="334638" y="122839"/>
                  </a:cubicBezTo>
                  <a:lnTo>
                    <a:pt x="358285" y="37991"/>
                  </a:lnTo>
                  <a:lnTo>
                    <a:pt x="358285" y="83581"/>
                  </a:lnTo>
                  <a:lnTo>
                    <a:pt x="335401" y="177293"/>
                  </a:lnTo>
                  <a:lnTo>
                    <a:pt x="358285" y="177293"/>
                  </a:lnTo>
                  <a:lnTo>
                    <a:pt x="358285" y="284935"/>
                  </a:lnTo>
                  <a:lnTo>
                    <a:pt x="388797" y="284935"/>
                  </a:lnTo>
                  <a:lnTo>
                    <a:pt x="388797" y="177293"/>
                  </a:lnTo>
                  <a:lnTo>
                    <a:pt x="404053" y="177293"/>
                  </a:lnTo>
                  <a:lnTo>
                    <a:pt x="404053" y="284935"/>
                  </a:lnTo>
                  <a:lnTo>
                    <a:pt x="434565" y="284935"/>
                  </a:lnTo>
                  <a:lnTo>
                    <a:pt x="434565" y="177293"/>
                  </a:lnTo>
                  <a:lnTo>
                    <a:pt x="457450" y="177293"/>
                  </a:lnTo>
                  <a:lnTo>
                    <a:pt x="434565" y="82315"/>
                  </a:lnTo>
                  <a:lnTo>
                    <a:pt x="434565" y="37991"/>
                  </a:lnTo>
                  <a:lnTo>
                    <a:pt x="457450" y="122839"/>
                  </a:lnTo>
                  <a:cubicBezTo>
                    <a:pt x="458975" y="128537"/>
                    <a:pt x="465078" y="132970"/>
                    <a:pt x="472706" y="132970"/>
                  </a:cubicBezTo>
                  <a:cubicBezTo>
                    <a:pt x="472706" y="132970"/>
                    <a:pt x="472706" y="132970"/>
                    <a:pt x="472706" y="132970"/>
                  </a:cubicBezTo>
                  <a:lnTo>
                    <a:pt x="472706" y="132970"/>
                  </a:lnTo>
                  <a:cubicBezTo>
                    <a:pt x="472706" y="132970"/>
                    <a:pt x="472706" y="132970"/>
                    <a:pt x="472706" y="132970"/>
                  </a:cubicBezTo>
                  <a:cubicBezTo>
                    <a:pt x="479571" y="132970"/>
                    <a:pt x="485673" y="129170"/>
                    <a:pt x="487962" y="122839"/>
                  </a:cubicBezTo>
                  <a:lnTo>
                    <a:pt x="510846" y="37991"/>
                  </a:lnTo>
                  <a:lnTo>
                    <a:pt x="510846" y="139301"/>
                  </a:lnTo>
                  <a:lnTo>
                    <a:pt x="510846" y="284935"/>
                  </a:lnTo>
                  <a:lnTo>
                    <a:pt x="541358" y="284935"/>
                  </a:lnTo>
                  <a:lnTo>
                    <a:pt x="541358" y="139301"/>
                  </a:lnTo>
                  <a:lnTo>
                    <a:pt x="556614" y="139301"/>
                  </a:lnTo>
                  <a:lnTo>
                    <a:pt x="556614" y="284935"/>
                  </a:lnTo>
                  <a:lnTo>
                    <a:pt x="587127" y="284935"/>
                  </a:lnTo>
                  <a:lnTo>
                    <a:pt x="587127" y="139301"/>
                  </a:lnTo>
                  <a:lnTo>
                    <a:pt x="587127" y="37991"/>
                  </a:lnTo>
                  <a:lnTo>
                    <a:pt x="610011" y="122839"/>
                  </a:lnTo>
                  <a:cubicBezTo>
                    <a:pt x="611536" y="128537"/>
                    <a:pt x="617639" y="132970"/>
                    <a:pt x="625267" y="132970"/>
                  </a:cubicBezTo>
                  <a:cubicBezTo>
                    <a:pt x="626792" y="132970"/>
                    <a:pt x="629081" y="132970"/>
                    <a:pt x="630607" y="132336"/>
                  </a:cubicBezTo>
                  <a:cubicBezTo>
                    <a:pt x="637472" y="129804"/>
                    <a:pt x="641286" y="123472"/>
                    <a:pt x="639760" y="117140"/>
                  </a:cubicBezTo>
                  <a:close/>
                </a:path>
              </a:pathLst>
            </a:custGeom>
            <a:solidFill>
              <a:srgbClr val="FFC000"/>
            </a:solidFill>
            <a:ln w="7541" cap="flat">
              <a:noFill/>
              <a:prstDash val="solid"/>
              <a:miter/>
            </a:ln>
          </p:spPr>
          <p:txBody>
            <a:bodyPr rtlCol="0" anchor="ctr"/>
            <a:lstStyle/>
            <a:p>
              <a:endParaRPr lang="en-US" sz="2400"/>
            </a:p>
          </p:txBody>
        </p:sp>
      </p:grpSp>
      <p:sp>
        <p:nvSpPr>
          <p:cNvPr id="403" name="Graphic 214" descr="Paper">
            <a:extLst>
              <a:ext uri="{FF2B5EF4-FFF2-40B4-BE49-F238E27FC236}">
                <a16:creationId xmlns:a16="http://schemas.microsoft.com/office/drawing/2014/main" id="{3F84E1FD-7513-4353-9324-E918833CF96A}"/>
              </a:ext>
            </a:extLst>
          </p:cNvPr>
          <p:cNvSpPr/>
          <p:nvPr/>
        </p:nvSpPr>
        <p:spPr>
          <a:xfrm>
            <a:off x="7456943" y="3909118"/>
            <a:ext cx="269512" cy="288665"/>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endParaRPr lang="en-US" sz="2400"/>
          </a:p>
        </p:txBody>
      </p:sp>
      <p:sp>
        <p:nvSpPr>
          <p:cNvPr id="475" name="Flowchart: Magnetic Disk 474">
            <a:extLst>
              <a:ext uri="{FF2B5EF4-FFF2-40B4-BE49-F238E27FC236}">
                <a16:creationId xmlns:a16="http://schemas.microsoft.com/office/drawing/2014/main" id="{04E2C40A-9784-4D97-8D93-E16D9D7CB22F}"/>
              </a:ext>
            </a:extLst>
          </p:cNvPr>
          <p:cNvSpPr/>
          <p:nvPr/>
        </p:nvSpPr>
        <p:spPr bwMode="auto">
          <a:xfrm>
            <a:off x="10376196" y="2462314"/>
            <a:ext cx="641496" cy="359893"/>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MDM</a:t>
            </a:r>
          </a:p>
        </p:txBody>
      </p:sp>
      <p:grpSp>
        <p:nvGrpSpPr>
          <p:cNvPr id="916" name="Group 915">
            <a:extLst>
              <a:ext uri="{FF2B5EF4-FFF2-40B4-BE49-F238E27FC236}">
                <a16:creationId xmlns:a16="http://schemas.microsoft.com/office/drawing/2014/main" id="{FD702F29-685F-428D-B9F4-2E8F4F3B62BB}"/>
              </a:ext>
            </a:extLst>
          </p:cNvPr>
          <p:cNvGrpSpPr/>
          <p:nvPr/>
        </p:nvGrpSpPr>
        <p:grpSpPr>
          <a:xfrm>
            <a:off x="425357" y="531440"/>
            <a:ext cx="5480992" cy="3784747"/>
            <a:chOff x="319407" y="449978"/>
            <a:chExt cx="4110744" cy="2838560"/>
          </a:xfrm>
        </p:grpSpPr>
        <p:sp>
          <p:nvSpPr>
            <p:cNvPr id="697" name="Flowchart: Magnetic Disk 696">
              <a:extLst>
                <a:ext uri="{FF2B5EF4-FFF2-40B4-BE49-F238E27FC236}">
                  <a16:creationId xmlns:a16="http://schemas.microsoft.com/office/drawing/2014/main" id="{7639DE3B-A535-4D07-9D3D-035A18C0A1E9}"/>
                </a:ext>
              </a:extLst>
            </p:cNvPr>
            <p:cNvSpPr/>
            <p:nvPr/>
          </p:nvSpPr>
          <p:spPr bwMode="auto">
            <a:xfrm>
              <a:off x="628102" y="1340909"/>
              <a:ext cx="647170" cy="337669"/>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err="1">
                  <a:solidFill>
                    <a:schemeClr val="bg1"/>
                  </a:solidFill>
                  <a:cs typeface="Arial"/>
                </a:rPr>
                <a:t>MyHub</a:t>
              </a:r>
              <a:endParaRPr lang="en-GB" sz="900">
                <a:solidFill>
                  <a:schemeClr val="bg1"/>
                </a:solidFill>
                <a:cs typeface="Arial"/>
              </a:endParaRPr>
            </a:p>
          </p:txBody>
        </p:sp>
        <p:sp>
          <p:nvSpPr>
            <p:cNvPr id="698" name="Flowchart: Magnetic Disk 697">
              <a:extLst>
                <a:ext uri="{FF2B5EF4-FFF2-40B4-BE49-F238E27FC236}">
                  <a16:creationId xmlns:a16="http://schemas.microsoft.com/office/drawing/2014/main" id="{1EB2970E-7714-47B4-ABFF-9A6119FD7116}"/>
                </a:ext>
              </a:extLst>
            </p:cNvPr>
            <p:cNvSpPr/>
            <p:nvPr/>
          </p:nvSpPr>
          <p:spPr bwMode="auto">
            <a:xfrm>
              <a:off x="3083276" y="1326340"/>
              <a:ext cx="583765" cy="337669"/>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SAP ECC (US)</a:t>
              </a:r>
            </a:p>
          </p:txBody>
        </p:sp>
        <p:sp>
          <p:nvSpPr>
            <p:cNvPr id="699" name="TextBox 698">
              <a:extLst>
                <a:ext uri="{FF2B5EF4-FFF2-40B4-BE49-F238E27FC236}">
                  <a16:creationId xmlns:a16="http://schemas.microsoft.com/office/drawing/2014/main" id="{35688286-F93A-4A5D-B402-AF0EA8492604}"/>
                </a:ext>
              </a:extLst>
            </p:cNvPr>
            <p:cNvSpPr txBox="1"/>
            <p:nvPr/>
          </p:nvSpPr>
          <p:spPr bwMode="auto">
            <a:xfrm>
              <a:off x="373715" y="1015583"/>
              <a:ext cx="124957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pPr>
              <a:r>
                <a:rPr lang="en-GB" sz="1200"/>
                <a:t>Employees &amp; US Contingent Workers</a:t>
              </a:r>
            </a:p>
          </p:txBody>
        </p:sp>
        <p:sp>
          <p:nvSpPr>
            <p:cNvPr id="700" name="TextBox 699">
              <a:extLst>
                <a:ext uri="{FF2B5EF4-FFF2-40B4-BE49-F238E27FC236}">
                  <a16:creationId xmlns:a16="http://schemas.microsoft.com/office/drawing/2014/main" id="{5D54B370-8095-4158-8FD4-B03FC391EF9F}"/>
                </a:ext>
              </a:extLst>
            </p:cNvPr>
            <p:cNvSpPr txBox="1"/>
            <p:nvPr/>
          </p:nvSpPr>
          <p:spPr bwMode="auto">
            <a:xfrm>
              <a:off x="1808952" y="1017444"/>
              <a:ext cx="10594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a:spcAft>
                  <a:spcPts val="450"/>
                </a:spcAft>
                <a:defRPr sz="900"/>
              </a:lvl1pPr>
            </a:lstStyle>
            <a:p>
              <a:r>
                <a:rPr lang="en-GB" sz="1200"/>
                <a:t>UK Contingent Workers </a:t>
              </a:r>
            </a:p>
          </p:txBody>
        </p:sp>
        <p:sp>
          <p:nvSpPr>
            <p:cNvPr id="701" name="TextBox 700">
              <a:extLst>
                <a:ext uri="{FF2B5EF4-FFF2-40B4-BE49-F238E27FC236}">
                  <a16:creationId xmlns:a16="http://schemas.microsoft.com/office/drawing/2014/main" id="{156488E3-A38B-4325-AD52-824A9482BB9D}"/>
                </a:ext>
              </a:extLst>
            </p:cNvPr>
            <p:cNvSpPr txBox="1"/>
            <p:nvPr/>
          </p:nvSpPr>
          <p:spPr bwMode="auto">
            <a:xfrm>
              <a:off x="3469835" y="1060735"/>
              <a:ext cx="30777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spcAft>
                  <a:spcPts val="600"/>
                </a:spcAft>
              </a:pPr>
              <a:r>
                <a:rPr lang="en-GB" sz="1200"/>
                <a:t>MSPs</a:t>
              </a:r>
            </a:p>
          </p:txBody>
        </p:sp>
        <p:cxnSp>
          <p:nvCxnSpPr>
            <p:cNvPr id="702" name="Straight Connector 701">
              <a:extLst>
                <a:ext uri="{FF2B5EF4-FFF2-40B4-BE49-F238E27FC236}">
                  <a16:creationId xmlns:a16="http://schemas.microsoft.com/office/drawing/2014/main" id="{09D82D54-C2FA-4AAA-87FF-F62190DC5EFE}"/>
                </a:ext>
              </a:extLst>
            </p:cNvPr>
            <p:cNvCxnSpPr>
              <a:cxnSpLocks/>
            </p:cNvCxnSpPr>
            <p:nvPr/>
          </p:nvCxnSpPr>
          <p:spPr bwMode="auto">
            <a:xfrm>
              <a:off x="1187253" y="1671090"/>
              <a:ext cx="224955" cy="928573"/>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5" name="Straight Connector 704">
              <a:extLst>
                <a:ext uri="{FF2B5EF4-FFF2-40B4-BE49-F238E27FC236}">
                  <a16:creationId xmlns:a16="http://schemas.microsoft.com/office/drawing/2014/main" id="{92145E06-B97D-47AB-AA6C-EE5CE22DE384}"/>
                </a:ext>
              </a:extLst>
            </p:cNvPr>
            <p:cNvCxnSpPr>
              <a:cxnSpLocks/>
              <a:stCxn id="697" idx="3"/>
              <a:endCxn id="831" idx="9"/>
            </p:cNvCxnSpPr>
            <p:nvPr/>
          </p:nvCxnSpPr>
          <p:spPr bwMode="auto">
            <a:xfrm flipH="1">
              <a:off x="906947" y="1678578"/>
              <a:ext cx="44740" cy="418016"/>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8" name="Straight Connector 707">
              <a:extLst>
                <a:ext uri="{FF2B5EF4-FFF2-40B4-BE49-F238E27FC236}">
                  <a16:creationId xmlns:a16="http://schemas.microsoft.com/office/drawing/2014/main" id="{CB212688-A35A-40FC-B870-B00B1711FFDA}"/>
                </a:ext>
              </a:extLst>
            </p:cNvPr>
            <p:cNvCxnSpPr>
              <a:cxnSpLocks/>
              <a:stCxn id="767" idx="5"/>
            </p:cNvCxnSpPr>
            <p:nvPr/>
          </p:nvCxnSpPr>
          <p:spPr bwMode="auto">
            <a:xfrm>
              <a:off x="3655483" y="2167140"/>
              <a:ext cx="67775" cy="531597"/>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2" name="TextBox 711">
              <a:extLst>
                <a:ext uri="{FF2B5EF4-FFF2-40B4-BE49-F238E27FC236}">
                  <a16:creationId xmlns:a16="http://schemas.microsoft.com/office/drawing/2014/main" id="{38ABDB9E-8C34-4AE4-9A59-0DA706B42FA0}"/>
                </a:ext>
              </a:extLst>
            </p:cNvPr>
            <p:cNvSpPr txBox="1"/>
            <p:nvPr/>
          </p:nvSpPr>
          <p:spPr bwMode="auto">
            <a:xfrm>
              <a:off x="355475" y="449978"/>
              <a:ext cx="79829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spcAft>
                  <a:spcPts val="600"/>
                </a:spcAft>
              </a:pPr>
              <a:r>
                <a:rPr lang="en-GB" sz="1400"/>
                <a:t>Current State</a:t>
              </a:r>
            </a:p>
          </p:txBody>
        </p:sp>
        <p:sp>
          <p:nvSpPr>
            <p:cNvPr id="713" name="Rectangle 712">
              <a:extLst>
                <a:ext uri="{FF2B5EF4-FFF2-40B4-BE49-F238E27FC236}">
                  <a16:creationId xmlns:a16="http://schemas.microsoft.com/office/drawing/2014/main" id="{EFA146D9-8003-4F94-BD89-553BDB39028F}"/>
                </a:ext>
              </a:extLst>
            </p:cNvPr>
            <p:cNvSpPr/>
            <p:nvPr/>
          </p:nvSpPr>
          <p:spPr bwMode="auto">
            <a:xfrm>
              <a:off x="319407" y="630410"/>
              <a:ext cx="4110744" cy="2658128"/>
            </a:xfrm>
            <a:prstGeom prst="rect">
              <a:avLst/>
            </a:prstGeom>
            <a:no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spcAft>
                  <a:spcPts val="451"/>
                </a:spcAft>
              </a:pPr>
              <a:endParaRPr lang="en-GB" err="1">
                <a:solidFill>
                  <a:schemeClr val="bg1"/>
                </a:solidFill>
                <a:cs typeface="Arial"/>
              </a:endParaRPr>
            </a:p>
          </p:txBody>
        </p:sp>
        <p:cxnSp>
          <p:nvCxnSpPr>
            <p:cNvPr id="714" name="Straight Connector 197">
              <a:extLst>
                <a:ext uri="{FF2B5EF4-FFF2-40B4-BE49-F238E27FC236}">
                  <a16:creationId xmlns:a16="http://schemas.microsoft.com/office/drawing/2014/main" id="{FC84DFA5-CDC8-4269-99B4-5AD85460DBCA}"/>
                </a:ext>
              </a:extLst>
            </p:cNvPr>
            <p:cNvCxnSpPr>
              <a:cxnSpLocks/>
              <a:stCxn id="748" idx="13"/>
            </p:cNvCxnSpPr>
            <p:nvPr/>
          </p:nvCxnSpPr>
          <p:spPr bwMode="auto">
            <a:xfrm flipH="1">
              <a:off x="2111433" y="2237319"/>
              <a:ext cx="60294" cy="15969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6" name="Flowchart: Magnetic Disk 715">
              <a:extLst>
                <a:ext uri="{FF2B5EF4-FFF2-40B4-BE49-F238E27FC236}">
                  <a16:creationId xmlns:a16="http://schemas.microsoft.com/office/drawing/2014/main" id="{09830C20-A455-4509-8AAE-71160E32DB78}"/>
                </a:ext>
              </a:extLst>
            </p:cNvPr>
            <p:cNvSpPr/>
            <p:nvPr/>
          </p:nvSpPr>
          <p:spPr bwMode="auto">
            <a:xfrm>
              <a:off x="3695637" y="1324697"/>
              <a:ext cx="550952" cy="351188"/>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ACG (UK)</a:t>
              </a:r>
            </a:p>
            <a:p>
              <a:pPr algn="ctr">
                <a:spcAft>
                  <a:spcPts val="451"/>
                </a:spcAft>
              </a:pPr>
              <a:endParaRPr lang="en-GB" sz="900">
                <a:solidFill>
                  <a:schemeClr val="bg1"/>
                </a:solidFill>
                <a:cs typeface="Arial"/>
              </a:endParaRPr>
            </a:p>
          </p:txBody>
        </p:sp>
        <p:pic>
          <p:nvPicPr>
            <p:cNvPr id="717" name="Picture 716">
              <a:extLst>
                <a:ext uri="{FF2B5EF4-FFF2-40B4-BE49-F238E27FC236}">
                  <a16:creationId xmlns:a16="http://schemas.microsoft.com/office/drawing/2014/main" id="{194E4430-CE9E-4CAA-873C-EB3D2785F168}"/>
                </a:ext>
              </a:extLst>
            </p:cNvPr>
            <p:cNvPicPr>
              <a:picLocks noChangeAspect="1"/>
            </p:cNvPicPr>
            <p:nvPr/>
          </p:nvPicPr>
          <p:blipFill>
            <a:blip r:embed="rId3"/>
            <a:stretch>
              <a:fillRect/>
            </a:stretch>
          </p:blipFill>
          <p:spPr>
            <a:xfrm>
              <a:off x="1945314" y="1376841"/>
              <a:ext cx="285062" cy="263714"/>
            </a:xfrm>
            <a:prstGeom prst="rect">
              <a:avLst/>
            </a:prstGeom>
          </p:spPr>
        </p:pic>
        <p:cxnSp>
          <p:nvCxnSpPr>
            <p:cNvPr id="718" name="Straight Connector 717">
              <a:extLst>
                <a:ext uri="{FF2B5EF4-FFF2-40B4-BE49-F238E27FC236}">
                  <a16:creationId xmlns:a16="http://schemas.microsoft.com/office/drawing/2014/main" id="{E14B4E8A-B4A7-4D4B-82B3-E54BD38A26DB}"/>
                </a:ext>
              </a:extLst>
            </p:cNvPr>
            <p:cNvCxnSpPr>
              <a:cxnSpLocks/>
              <a:stCxn id="697" idx="4"/>
              <a:endCxn id="717" idx="1"/>
            </p:cNvCxnSpPr>
            <p:nvPr/>
          </p:nvCxnSpPr>
          <p:spPr bwMode="auto">
            <a:xfrm flipV="1">
              <a:off x="1275272" y="1508698"/>
              <a:ext cx="670042" cy="1046"/>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9" name="Flowchart: Magnetic Disk 718">
              <a:extLst>
                <a:ext uri="{FF2B5EF4-FFF2-40B4-BE49-F238E27FC236}">
                  <a16:creationId xmlns:a16="http://schemas.microsoft.com/office/drawing/2014/main" id="{AF318177-7ADE-4914-8A18-80282532DC0A}"/>
                </a:ext>
              </a:extLst>
            </p:cNvPr>
            <p:cNvSpPr/>
            <p:nvPr/>
          </p:nvSpPr>
          <p:spPr bwMode="auto">
            <a:xfrm>
              <a:off x="2260372" y="1309677"/>
              <a:ext cx="532205" cy="351188"/>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SAP ECC (UK)</a:t>
              </a:r>
            </a:p>
          </p:txBody>
        </p:sp>
        <p:cxnSp>
          <p:nvCxnSpPr>
            <p:cNvPr id="720" name="Straight Connector 719">
              <a:extLst>
                <a:ext uri="{FF2B5EF4-FFF2-40B4-BE49-F238E27FC236}">
                  <a16:creationId xmlns:a16="http://schemas.microsoft.com/office/drawing/2014/main" id="{A798AD3B-0D5D-41D6-A95D-1F549F38FA8D}"/>
                </a:ext>
              </a:extLst>
            </p:cNvPr>
            <p:cNvCxnSpPr>
              <a:cxnSpLocks/>
              <a:stCxn id="784" idx="12"/>
            </p:cNvCxnSpPr>
            <p:nvPr/>
          </p:nvCxnSpPr>
          <p:spPr bwMode="auto">
            <a:xfrm flipH="1" flipV="1">
              <a:off x="2688201" y="1660286"/>
              <a:ext cx="63070" cy="35702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3" name="Straight Connector 722">
              <a:extLst>
                <a:ext uri="{FF2B5EF4-FFF2-40B4-BE49-F238E27FC236}">
                  <a16:creationId xmlns:a16="http://schemas.microsoft.com/office/drawing/2014/main" id="{E6069A27-2C63-4BB4-BC6D-CF78C0ACE490}"/>
                </a:ext>
              </a:extLst>
            </p:cNvPr>
            <p:cNvCxnSpPr>
              <a:cxnSpLocks/>
            </p:cNvCxnSpPr>
            <p:nvPr/>
          </p:nvCxnSpPr>
          <p:spPr bwMode="auto">
            <a:xfrm flipH="1">
              <a:off x="2292357" y="1569617"/>
              <a:ext cx="155099" cy="50803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4" name="Straight Connector 723">
              <a:extLst>
                <a:ext uri="{FF2B5EF4-FFF2-40B4-BE49-F238E27FC236}">
                  <a16:creationId xmlns:a16="http://schemas.microsoft.com/office/drawing/2014/main" id="{FEF400AC-0005-4A58-8E5E-6BEB5592753D}"/>
                </a:ext>
              </a:extLst>
            </p:cNvPr>
            <p:cNvCxnSpPr>
              <a:cxnSpLocks/>
            </p:cNvCxnSpPr>
            <p:nvPr/>
          </p:nvCxnSpPr>
          <p:spPr bwMode="auto">
            <a:xfrm flipH="1">
              <a:off x="3644072" y="1649463"/>
              <a:ext cx="327041" cy="398626"/>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5" name="Straight Connector 724">
              <a:extLst>
                <a:ext uri="{FF2B5EF4-FFF2-40B4-BE49-F238E27FC236}">
                  <a16:creationId xmlns:a16="http://schemas.microsoft.com/office/drawing/2014/main" id="{FF7DB352-CCFD-41BE-83E1-ABE3A6122732}"/>
                </a:ext>
              </a:extLst>
            </p:cNvPr>
            <p:cNvCxnSpPr>
              <a:cxnSpLocks/>
              <a:stCxn id="698" idx="3"/>
              <a:endCxn id="767" idx="1"/>
            </p:cNvCxnSpPr>
            <p:nvPr/>
          </p:nvCxnSpPr>
          <p:spPr bwMode="auto">
            <a:xfrm>
              <a:off x="3375159" y="1664009"/>
              <a:ext cx="117312" cy="319106"/>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6" name="Straight Connector 725">
              <a:extLst>
                <a:ext uri="{FF2B5EF4-FFF2-40B4-BE49-F238E27FC236}">
                  <a16:creationId xmlns:a16="http://schemas.microsoft.com/office/drawing/2014/main" id="{79035ED4-61C7-4273-A0B6-E4A557B1968D}"/>
                </a:ext>
              </a:extLst>
            </p:cNvPr>
            <p:cNvCxnSpPr>
              <a:cxnSpLocks/>
              <a:stCxn id="717" idx="2"/>
              <a:endCxn id="748" idx="2"/>
            </p:cNvCxnSpPr>
            <p:nvPr/>
          </p:nvCxnSpPr>
          <p:spPr bwMode="auto">
            <a:xfrm>
              <a:off x="2087845" y="1640555"/>
              <a:ext cx="184950" cy="396502"/>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7" name="Straight Connector 726">
              <a:extLst>
                <a:ext uri="{FF2B5EF4-FFF2-40B4-BE49-F238E27FC236}">
                  <a16:creationId xmlns:a16="http://schemas.microsoft.com/office/drawing/2014/main" id="{07764463-C0A3-4AD0-9661-43CCE0C59EF8}"/>
                </a:ext>
              </a:extLst>
            </p:cNvPr>
            <p:cNvCxnSpPr>
              <a:cxnSpLocks/>
              <a:endCxn id="859" idx="13"/>
            </p:cNvCxnSpPr>
            <p:nvPr/>
          </p:nvCxnSpPr>
          <p:spPr bwMode="auto">
            <a:xfrm flipV="1">
              <a:off x="2887218" y="2230879"/>
              <a:ext cx="217275" cy="473326"/>
            </a:xfrm>
            <a:prstGeom prst="line">
              <a:avLst/>
            </a:prstGeom>
            <a:solidFill>
              <a:schemeClr val="accent1"/>
            </a:solidFill>
            <a:ln w="9525"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28" name="Graphic 201" descr="Group">
              <a:extLst>
                <a:ext uri="{FF2B5EF4-FFF2-40B4-BE49-F238E27FC236}">
                  <a16:creationId xmlns:a16="http://schemas.microsoft.com/office/drawing/2014/main" id="{0C98CD93-75F4-428C-A015-39ED6257208F}"/>
                </a:ext>
              </a:extLst>
            </p:cNvPr>
            <p:cNvGrpSpPr/>
            <p:nvPr/>
          </p:nvGrpSpPr>
          <p:grpSpPr>
            <a:xfrm>
              <a:off x="650626" y="667201"/>
              <a:ext cx="602017" cy="334647"/>
              <a:chOff x="4920366" y="573715"/>
              <a:chExt cx="602017" cy="334647"/>
            </a:xfrm>
          </p:grpSpPr>
          <p:sp>
            <p:nvSpPr>
              <p:cNvPr id="729" name="Freeform: Shape 728">
                <a:extLst>
                  <a:ext uri="{FF2B5EF4-FFF2-40B4-BE49-F238E27FC236}">
                    <a16:creationId xmlns:a16="http://schemas.microsoft.com/office/drawing/2014/main" id="{597777DA-BCFC-4E20-A3C7-A19FC5B3B864}"/>
                  </a:ext>
                </a:extLst>
              </p:cNvPr>
              <p:cNvSpPr/>
              <p:nvPr/>
            </p:nvSpPr>
            <p:spPr>
              <a:xfrm>
                <a:off x="5406109"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730" name="Freeform: Shape 729">
                <a:extLst>
                  <a:ext uri="{FF2B5EF4-FFF2-40B4-BE49-F238E27FC236}">
                    <a16:creationId xmlns:a16="http://schemas.microsoft.com/office/drawing/2014/main" id="{B8A3E0F1-E65A-46FD-A28F-5FF9C264DFE3}"/>
                  </a:ext>
                </a:extLst>
              </p:cNvPr>
              <p:cNvSpPr/>
              <p:nvPr/>
            </p:nvSpPr>
            <p:spPr>
              <a:xfrm>
                <a:off x="4970916"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731" name="Freeform: Shape 730">
                <a:extLst>
                  <a:ext uri="{FF2B5EF4-FFF2-40B4-BE49-F238E27FC236}">
                    <a16:creationId xmlns:a16="http://schemas.microsoft.com/office/drawing/2014/main" id="{152C05F2-6E73-4902-8CB0-91B0C061657F}"/>
                  </a:ext>
                </a:extLst>
              </p:cNvPr>
              <p:cNvSpPr/>
              <p:nvPr/>
            </p:nvSpPr>
            <p:spPr>
              <a:xfrm>
                <a:off x="5261045"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732" name="Freeform: Shape 731">
                <a:extLst>
                  <a:ext uri="{FF2B5EF4-FFF2-40B4-BE49-F238E27FC236}">
                    <a16:creationId xmlns:a16="http://schemas.microsoft.com/office/drawing/2014/main" id="{5544692F-C553-4A47-9CDC-DB5A0B6C1704}"/>
                  </a:ext>
                </a:extLst>
              </p:cNvPr>
              <p:cNvSpPr/>
              <p:nvPr/>
            </p:nvSpPr>
            <p:spPr>
              <a:xfrm>
                <a:off x="5115980" y="573715"/>
                <a:ext cx="72532" cy="59758"/>
              </a:xfrm>
              <a:custGeom>
                <a:avLst/>
                <a:gdLst>
                  <a:gd name="connsiteX0" fmla="*/ 72532 w 72532"/>
                  <a:gd name="connsiteY0" fmla="*/ 29879 h 59758"/>
                  <a:gd name="connsiteX1" fmla="*/ 36266 w 72532"/>
                  <a:gd name="connsiteY1" fmla="*/ 59758 h 59758"/>
                  <a:gd name="connsiteX2" fmla="*/ 0 w 72532"/>
                  <a:gd name="connsiteY2" fmla="*/ 29879 h 59758"/>
                  <a:gd name="connsiteX3" fmla="*/ 36266 w 72532"/>
                  <a:gd name="connsiteY3" fmla="*/ 0 h 59758"/>
                  <a:gd name="connsiteX4" fmla="*/ 72532 w 72532"/>
                  <a:gd name="connsiteY4" fmla="*/ 29879 h 5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32" h="59758">
                    <a:moveTo>
                      <a:pt x="72532" y="29879"/>
                    </a:moveTo>
                    <a:cubicBezTo>
                      <a:pt x="72532" y="46381"/>
                      <a:pt x="56295" y="59758"/>
                      <a:pt x="36266" y="59758"/>
                    </a:cubicBezTo>
                    <a:cubicBezTo>
                      <a:pt x="16237" y="59758"/>
                      <a:pt x="0" y="46381"/>
                      <a:pt x="0" y="29879"/>
                    </a:cubicBezTo>
                    <a:cubicBezTo>
                      <a:pt x="0" y="13377"/>
                      <a:pt x="16237" y="0"/>
                      <a:pt x="36266" y="0"/>
                    </a:cubicBezTo>
                    <a:cubicBezTo>
                      <a:pt x="56295" y="0"/>
                      <a:pt x="72532" y="13377"/>
                      <a:pt x="72532" y="29879"/>
                    </a:cubicBezTo>
                    <a:close/>
                  </a:path>
                </a:pathLst>
              </a:custGeom>
              <a:solidFill>
                <a:srgbClr val="FFC000"/>
              </a:solidFill>
              <a:ln w="7243" cap="flat">
                <a:noFill/>
                <a:prstDash val="solid"/>
                <a:miter/>
              </a:ln>
            </p:spPr>
            <p:txBody>
              <a:bodyPr rtlCol="0" anchor="ctr"/>
              <a:lstStyle/>
              <a:p>
                <a:endParaRPr lang="en-US" sz="2400"/>
              </a:p>
            </p:txBody>
          </p:sp>
          <p:sp>
            <p:nvSpPr>
              <p:cNvPr id="733" name="Freeform: Shape 732">
                <a:extLst>
                  <a:ext uri="{FF2B5EF4-FFF2-40B4-BE49-F238E27FC236}">
                    <a16:creationId xmlns:a16="http://schemas.microsoft.com/office/drawing/2014/main" id="{5BE64376-ED3C-40EC-A8D3-DCFF11240D58}"/>
                  </a:ext>
                </a:extLst>
              </p:cNvPr>
              <p:cNvSpPr/>
              <p:nvPr/>
            </p:nvSpPr>
            <p:spPr>
              <a:xfrm>
                <a:off x="4920366" y="639449"/>
                <a:ext cx="602017" cy="268913"/>
              </a:xfrm>
              <a:custGeom>
                <a:avLst/>
                <a:gdLst>
                  <a:gd name="connsiteX0" fmla="*/ 608322 w 602017"/>
                  <a:gd name="connsiteY0" fmla="*/ 110553 h 268912"/>
                  <a:gd name="connsiteX1" fmla="*/ 585112 w 602017"/>
                  <a:gd name="connsiteY1" fmla="*/ 23306 h 268912"/>
                  <a:gd name="connsiteX2" fmla="*/ 580035 w 602017"/>
                  <a:gd name="connsiteY2" fmla="*/ 16732 h 268912"/>
                  <a:gd name="connsiteX3" fmla="*/ 551022 w 602017"/>
                  <a:gd name="connsiteY3" fmla="*/ 4183 h 268912"/>
                  <a:gd name="connsiteX4" fmla="*/ 522009 w 602017"/>
                  <a:gd name="connsiteY4" fmla="*/ 0 h 268912"/>
                  <a:gd name="connsiteX5" fmla="*/ 492996 w 602017"/>
                  <a:gd name="connsiteY5" fmla="*/ 4183 h 268912"/>
                  <a:gd name="connsiteX6" fmla="*/ 463983 w 602017"/>
                  <a:gd name="connsiteY6" fmla="*/ 16732 h 268912"/>
                  <a:gd name="connsiteX7" fmla="*/ 458906 w 602017"/>
                  <a:gd name="connsiteY7" fmla="*/ 23306 h 268912"/>
                  <a:gd name="connsiteX8" fmla="*/ 449477 w 602017"/>
                  <a:gd name="connsiteY8" fmla="*/ 58563 h 268912"/>
                  <a:gd name="connsiteX9" fmla="*/ 449477 w 602017"/>
                  <a:gd name="connsiteY9" fmla="*/ 58563 h 268912"/>
                  <a:gd name="connsiteX10" fmla="*/ 440048 w 602017"/>
                  <a:gd name="connsiteY10" fmla="*/ 23306 h 268912"/>
                  <a:gd name="connsiteX11" fmla="*/ 434970 w 602017"/>
                  <a:gd name="connsiteY11" fmla="*/ 16732 h 268912"/>
                  <a:gd name="connsiteX12" fmla="*/ 405958 w 602017"/>
                  <a:gd name="connsiteY12" fmla="*/ 4183 h 268912"/>
                  <a:gd name="connsiteX13" fmla="*/ 376945 w 602017"/>
                  <a:gd name="connsiteY13" fmla="*/ 0 h 268912"/>
                  <a:gd name="connsiteX14" fmla="*/ 347932 w 602017"/>
                  <a:gd name="connsiteY14" fmla="*/ 4183 h 268912"/>
                  <a:gd name="connsiteX15" fmla="*/ 318919 w 602017"/>
                  <a:gd name="connsiteY15" fmla="*/ 16732 h 268912"/>
                  <a:gd name="connsiteX16" fmla="*/ 313842 w 602017"/>
                  <a:gd name="connsiteY16" fmla="*/ 23306 h 268912"/>
                  <a:gd name="connsiteX17" fmla="*/ 304412 w 602017"/>
                  <a:gd name="connsiteY17" fmla="*/ 57966 h 268912"/>
                  <a:gd name="connsiteX18" fmla="*/ 304412 w 602017"/>
                  <a:gd name="connsiteY18" fmla="*/ 58563 h 268912"/>
                  <a:gd name="connsiteX19" fmla="*/ 294983 w 602017"/>
                  <a:gd name="connsiteY19" fmla="*/ 23306 h 268912"/>
                  <a:gd name="connsiteX20" fmla="*/ 289906 w 602017"/>
                  <a:gd name="connsiteY20" fmla="*/ 16732 h 268912"/>
                  <a:gd name="connsiteX21" fmla="*/ 260893 w 602017"/>
                  <a:gd name="connsiteY21" fmla="*/ 4183 h 268912"/>
                  <a:gd name="connsiteX22" fmla="*/ 231880 w 602017"/>
                  <a:gd name="connsiteY22" fmla="*/ 0 h 268912"/>
                  <a:gd name="connsiteX23" fmla="*/ 202867 w 602017"/>
                  <a:gd name="connsiteY23" fmla="*/ 4183 h 268912"/>
                  <a:gd name="connsiteX24" fmla="*/ 173855 w 602017"/>
                  <a:gd name="connsiteY24" fmla="*/ 16732 h 268912"/>
                  <a:gd name="connsiteX25" fmla="*/ 168777 w 602017"/>
                  <a:gd name="connsiteY25" fmla="*/ 23306 h 268912"/>
                  <a:gd name="connsiteX26" fmla="*/ 159348 w 602017"/>
                  <a:gd name="connsiteY26" fmla="*/ 57966 h 268912"/>
                  <a:gd name="connsiteX27" fmla="*/ 159348 w 602017"/>
                  <a:gd name="connsiteY27" fmla="*/ 57966 h 268912"/>
                  <a:gd name="connsiteX28" fmla="*/ 149919 w 602017"/>
                  <a:gd name="connsiteY28" fmla="*/ 23306 h 268912"/>
                  <a:gd name="connsiteX29" fmla="*/ 144842 w 602017"/>
                  <a:gd name="connsiteY29" fmla="*/ 16732 h 268912"/>
                  <a:gd name="connsiteX30" fmla="*/ 115829 w 602017"/>
                  <a:gd name="connsiteY30" fmla="*/ 4183 h 268912"/>
                  <a:gd name="connsiteX31" fmla="*/ 86816 w 602017"/>
                  <a:gd name="connsiteY31" fmla="*/ 0 h 268912"/>
                  <a:gd name="connsiteX32" fmla="*/ 57803 w 602017"/>
                  <a:gd name="connsiteY32" fmla="*/ 4183 h 268912"/>
                  <a:gd name="connsiteX33" fmla="*/ 28790 w 602017"/>
                  <a:gd name="connsiteY33" fmla="*/ 16732 h 268912"/>
                  <a:gd name="connsiteX34" fmla="*/ 23713 w 602017"/>
                  <a:gd name="connsiteY34" fmla="*/ 23306 h 268912"/>
                  <a:gd name="connsiteX35" fmla="*/ 503 w 602017"/>
                  <a:gd name="connsiteY35" fmla="*/ 109955 h 268912"/>
                  <a:gd name="connsiteX36" fmla="*/ 12108 w 602017"/>
                  <a:gd name="connsiteY36" fmla="*/ 124895 h 268912"/>
                  <a:gd name="connsiteX37" fmla="*/ 14284 w 602017"/>
                  <a:gd name="connsiteY37" fmla="*/ 124895 h 268912"/>
                  <a:gd name="connsiteX38" fmla="*/ 28790 w 602017"/>
                  <a:gd name="connsiteY38" fmla="*/ 115334 h 268912"/>
                  <a:gd name="connsiteX39" fmla="*/ 50550 w 602017"/>
                  <a:gd name="connsiteY39" fmla="*/ 35855 h 268912"/>
                  <a:gd name="connsiteX40" fmla="*/ 50550 w 602017"/>
                  <a:gd name="connsiteY40" fmla="*/ 78283 h 268912"/>
                  <a:gd name="connsiteX41" fmla="*/ 28790 w 602017"/>
                  <a:gd name="connsiteY41" fmla="*/ 167323 h 268912"/>
                  <a:gd name="connsiteX42" fmla="*/ 50550 w 602017"/>
                  <a:gd name="connsiteY42" fmla="*/ 167323 h 268912"/>
                  <a:gd name="connsiteX43" fmla="*/ 50550 w 602017"/>
                  <a:gd name="connsiteY43" fmla="*/ 268913 h 268912"/>
                  <a:gd name="connsiteX44" fmla="*/ 79563 w 602017"/>
                  <a:gd name="connsiteY44" fmla="*/ 268913 h 268912"/>
                  <a:gd name="connsiteX45" fmla="*/ 79563 w 602017"/>
                  <a:gd name="connsiteY45" fmla="*/ 167323 h 268912"/>
                  <a:gd name="connsiteX46" fmla="*/ 94069 w 602017"/>
                  <a:gd name="connsiteY46" fmla="*/ 167323 h 268912"/>
                  <a:gd name="connsiteX47" fmla="*/ 94069 w 602017"/>
                  <a:gd name="connsiteY47" fmla="*/ 268913 h 268912"/>
                  <a:gd name="connsiteX48" fmla="*/ 123082 w 602017"/>
                  <a:gd name="connsiteY48" fmla="*/ 268913 h 268912"/>
                  <a:gd name="connsiteX49" fmla="*/ 123082 w 602017"/>
                  <a:gd name="connsiteY49" fmla="*/ 167323 h 268912"/>
                  <a:gd name="connsiteX50" fmla="*/ 144842 w 602017"/>
                  <a:gd name="connsiteY50" fmla="*/ 167323 h 268912"/>
                  <a:gd name="connsiteX51" fmla="*/ 123082 w 602017"/>
                  <a:gd name="connsiteY51" fmla="*/ 78283 h 268912"/>
                  <a:gd name="connsiteX52" fmla="*/ 123082 w 602017"/>
                  <a:gd name="connsiteY52" fmla="*/ 35855 h 268912"/>
                  <a:gd name="connsiteX53" fmla="*/ 144842 w 602017"/>
                  <a:gd name="connsiteY53" fmla="*/ 115931 h 268912"/>
                  <a:gd name="connsiteX54" fmla="*/ 158623 w 602017"/>
                  <a:gd name="connsiteY54" fmla="*/ 125493 h 268912"/>
                  <a:gd name="connsiteX55" fmla="*/ 158623 w 602017"/>
                  <a:gd name="connsiteY55" fmla="*/ 125493 h 268912"/>
                  <a:gd name="connsiteX56" fmla="*/ 172404 w 602017"/>
                  <a:gd name="connsiteY56" fmla="*/ 115931 h 268912"/>
                  <a:gd name="connsiteX57" fmla="*/ 195614 w 602017"/>
                  <a:gd name="connsiteY57" fmla="*/ 35855 h 268912"/>
                  <a:gd name="connsiteX58" fmla="*/ 195614 w 602017"/>
                  <a:gd name="connsiteY58" fmla="*/ 131468 h 268912"/>
                  <a:gd name="connsiteX59" fmla="*/ 195614 w 602017"/>
                  <a:gd name="connsiteY59" fmla="*/ 268913 h 268912"/>
                  <a:gd name="connsiteX60" fmla="*/ 224627 w 602017"/>
                  <a:gd name="connsiteY60" fmla="*/ 268913 h 268912"/>
                  <a:gd name="connsiteX61" fmla="*/ 224627 w 602017"/>
                  <a:gd name="connsiteY61" fmla="*/ 131468 h 268912"/>
                  <a:gd name="connsiteX62" fmla="*/ 239133 w 602017"/>
                  <a:gd name="connsiteY62" fmla="*/ 131468 h 268912"/>
                  <a:gd name="connsiteX63" fmla="*/ 239133 w 602017"/>
                  <a:gd name="connsiteY63" fmla="*/ 268913 h 268912"/>
                  <a:gd name="connsiteX64" fmla="*/ 268146 w 602017"/>
                  <a:gd name="connsiteY64" fmla="*/ 268913 h 268912"/>
                  <a:gd name="connsiteX65" fmla="*/ 268146 w 602017"/>
                  <a:gd name="connsiteY65" fmla="*/ 131468 h 268912"/>
                  <a:gd name="connsiteX66" fmla="*/ 268146 w 602017"/>
                  <a:gd name="connsiteY66" fmla="*/ 35855 h 268912"/>
                  <a:gd name="connsiteX67" fmla="*/ 289906 w 602017"/>
                  <a:gd name="connsiteY67" fmla="*/ 115931 h 268912"/>
                  <a:gd name="connsiteX68" fmla="*/ 304412 w 602017"/>
                  <a:gd name="connsiteY68" fmla="*/ 125493 h 268912"/>
                  <a:gd name="connsiteX69" fmla="*/ 304412 w 602017"/>
                  <a:gd name="connsiteY69" fmla="*/ 125493 h 268912"/>
                  <a:gd name="connsiteX70" fmla="*/ 304412 w 602017"/>
                  <a:gd name="connsiteY70" fmla="*/ 125493 h 268912"/>
                  <a:gd name="connsiteX71" fmla="*/ 318194 w 602017"/>
                  <a:gd name="connsiteY71" fmla="*/ 115931 h 268912"/>
                  <a:gd name="connsiteX72" fmla="*/ 340679 w 602017"/>
                  <a:gd name="connsiteY72" fmla="*/ 35855 h 268912"/>
                  <a:gd name="connsiteX73" fmla="*/ 340679 w 602017"/>
                  <a:gd name="connsiteY73" fmla="*/ 78881 h 268912"/>
                  <a:gd name="connsiteX74" fmla="*/ 318919 w 602017"/>
                  <a:gd name="connsiteY74" fmla="*/ 167323 h 268912"/>
                  <a:gd name="connsiteX75" fmla="*/ 340679 w 602017"/>
                  <a:gd name="connsiteY75" fmla="*/ 167323 h 268912"/>
                  <a:gd name="connsiteX76" fmla="*/ 340679 w 602017"/>
                  <a:gd name="connsiteY76" fmla="*/ 268913 h 268912"/>
                  <a:gd name="connsiteX77" fmla="*/ 369691 w 602017"/>
                  <a:gd name="connsiteY77" fmla="*/ 268913 h 268912"/>
                  <a:gd name="connsiteX78" fmla="*/ 369691 w 602017"/>
                  <a:gd name="connsiteY78" fmla="*/ 167323 h 268912"/>
                  <a:gd name="connsiteX79" fmla="*/ 384198 w 602017"/>
                  <a:gd name="connsiteY79" fmla="*/ 167323 h 268912"/>
                  <a:gd name="connsiteX80" fmla="*/ 384198 w 602017"/>
                  <a:gd name="connsiteY80" fmla="*/ 268913 h 268912"/>
                  <a:gd name="connsiteX81" fmla="*/ 413211 w 602017"/>
                  <a:gd name="connsiteY81" fmla="*/ 268913 h 268912"/>
                  <a:gd name="connsiteX82" fmla="*/ 413211 w 602017"/>
                  <a:gd name="connsiteY82" fmla="*/ 167323 h 268912"/>
                  <a:gd name="connsiteX83" fmla="*/ 434970 w 602017"/>
                  <a:gd name="connsiteY83" fmla="*/ 167323 h 268912"/>
                  <a:gd name="connsiteX84" fmla="*/ 413211 w 602017"/>
                  <a:gd name="connsiteY84" fmla="*/ 77686 h 268912"/>
                  <a:gd name="connsiteX85" fmla="*/ 413211 w 602017"/>
                  <a:gd name="connsiteY85" fmla="*/ 35855 h 268912"/>
                  <a:gd name="connsiteX86" fmla="*/ 434970 w 602017"/>
                  <a:gd name="connsiteY86" fmla="*/ 115931 h 268912"/>
                  <a:gd name="connsiteX87" fmla="*/ 449477 w 602017"/>
                  <a:gd name="connsiteY87" fmla="*/ 125493 h 268912"/>
                  <a:gd name="connsiteX88" fmla="*/ 449477 w 602017"/>
                  <a:gd name="connsiteY88" fmla="*/ 125493 h 268912"/>
                  <a:gd name="connsiteX89" fmla="*/ 449477 w 602017"/>
                  <a:gd name="connsiteY89" fmla="*/ 125493 h 268912"/>
                  <a:gd name="connsiteX90" fmla="*/ 449477 w 602017"/>
                  <a:gd name="connsiteY90" fmla="*/ 125493 h 268912"/>
                  <a:gd name="connsiteX91" fmla="*/ 463983 w 602017"/>
                  <a:gd name="connsiteY91" fmla="*/ 115931 h 268912"/>
                  <a:gd name="connsiteX92" fmla="*/ 485743 w 602017"/>
                  <a:gd name="connsiteY92" fmla="*/ 35855 h 268912"/>
                  <a:gd name="connsiteX93" fmla="*/ 485743 w 602017"/>
                  <a:gd name="connsiteY93" fmla="*/ 131468 h 268912"/>
                  <a:gd name="connsiteX94" fmla="*/ 485743 w 602017"/>
                  <a:gd name="connsiteY94" fmla="*/ 268913 h 268912"/>
                  <a:gd name="connsiteX95" fmla="*/ 514756 w 602017"/>
                  <a:gd name="connsiteY95" fmla="*/ 268913 h 268912"/>
                  <a:gd name="connsiteX96" fmla="*/ 514756 w 602017"/>
                  <a:gd name="connsiteY96" fmla="*/ 131468 h 268912"/>
                  <a:gd name="connsiteX97" fmla="*/ 529262 w 602017"/>
                  <a:gd name="connsiteY97" fmla="*/ 131468 h 268912"/>
                  <a:gd name="connsiteX98" fmla="*/ 529262 w 602017"/>
                  <a:gd name="connsiteY98" fmla="*/ 268913 h 268912"/>
                  <a:gd name="connsiteX99" fmla="*/ 558275 w 602017"/>
                  <a:gd name="connsiteY99" fmla="*/ 268913 h 268912"/>
                  <a:gd name="connsiteX100" fmla="*/ 558275 w 602017"/>
                  <a:gd name="connsiteY100" fmla="*/ 131468 h 268912"/>
                  <a:gd name="connsiteX101" fmla="*/ 558275 w 602017"/>
                  <a:gd name="connsiteY101" fmla="*/ 35855 h 268912"/>
                  <a:gd name="connsiteX102" fmla="*/ 580035 w 602017"/>
                  <a:gd name="connsiteY102" fmla="*/ 115931 h 268912"/>
                  <a:gd name="connsiteX103" fmla="*/ 594541 w 602017"/>
                  <a:gd name="connsiteY103" fmla="*/ 125493 h 268912"/>
                  <a:gd name="connsiteX104" fmla="*/ 599618 w 602017"/>
                  <a:gd name="connsiteY104" fmla="*/ 124895 h 268912"/>
                  <a:gd name="connsiteX105" fmla="*/ 608322 w 602017"/>
                  <a:gd name="connsiteY105" fmla="*/ 110553 h 26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02017" h="268912">
                    <a:moveTo>
                      <a:pt x="608322" y="110553"/>
                    </a:moveTo>
                    <a:lnTo>
                      <a:pt x="585112" y="23306"/>
                    </a:lnTo>
                    <a:cubicBezTo>
                      <a:pt x="584387" y="20915"/>
                      <a:pt x="582936" y="18525"/>
                      <a:pt x="580035" y="16732"/>
                    </a:cubicBezTo>
                    <a:cubicBezTo>
                      <a:pt x="571331" y="11354"/>
                      <a:pt x="561902" y="6573"/>
                      <a:pt x="551022" y="4183"/>
                    </a:cubicBezTo>
                    <a:cubicBezTo>
                      <a:pt x="541593" y="1793"/>
                      <a:pt x="532164" y="0"/>
                      <a:pt x="522009" y="0"/>
                    </a:cubicBezTo>
                    <a:cubicBezTo>
                      <a:pt x="511855" y="0"/>
                      <a:pt x="501700" y="1195"/>
                      <a:pt x="492996" y="4183"/>
                    </a:cubicBezTo>
                    <a:cubicBezTo>
                      <a:pt x="482116" y="7171"/>
                      <a:pt x="472687" y="11354"/>
                      <a:pt x="463983" y="16732"/>
                    </a:cubicBezTo>
                    <a:cubicBezTo>
                      <a:pt x="461082" y="18525"/>
                      <a:pt x="459631" y="20915"/>
                      <a:pt x="458906" y="23306"/>
                    </a:cubicBezTo>
                    <a:lnTo>
                      <a:pt x="449477" y="58563"/>
                    </a:lnTo>
                    <a:lnTo>
                      <a:pt x="449477" y="58563"/>
                    </a:lnTo>
                    <a:lnTo>
                      <a:pt x="440048" y="23306"/>
                    </a:lnTo>
                    <a:cubicBezTo>
                      <a:pt x="439322" y="20915"/>
                      <a:pt x="437872" y="18525"/>
                      <a:pt x="434970" y="16732"/>
                    </a:cubicBezTo>
                    <a:cubicBezTo>
                      <a:pt x="426267" y="11354"/>
                      <a:pt x="416837" y="6573"/>
                      <a:pt x="405958" y="4183"/>
                    </a:cubicBezTo>
                    <a:cubicBezTo>
                      <a:pt x="396528" y="1793"/>
                      <a:pt x="387099" y="0"/>
                      <a:pt x="376945" y="0"/>
                    </a:cubicBezTo>
                    <a:cubicBezTo>
                      <a:pt x="366790" y="0"/>
                      <a:pt x="356636" y="1195"/>
                      <a:pt x="347932" y="4183"/>
                    </a:cubicBezTo>
                    <a:cubicBezTo>
                      <a:pt x="337052" y="7171"/>
                      <a:pt x="327623" y="11354"/>
                      <a:pt x="318919" y="16732"/>
                    </a:cubicBezTo>
                    <a:cubicBezTo>
                      <a:pt x="316018" y="18525"/>
                      <a:pt x="314567" y="20915"/>
                      <a:pt x="313842" y="23306"/>
                    </a:cubicBezTo>
                    <a:lnTo>
                      <a:pt x="304412" y="57966"/>
                    </a:lnTo>
                    <a:lnTo>
                      <a:pt x="304412" y="58563"/>
                    </a:lnTo>
                    <a:lnTo>
                      <a:pt x="294983" y="23306"/>
                    </a:lnTo>
                    <a:cubicBezTo>
                      <a:pt x="294258" y="20915"/>
                      <a:pt x="292807" y="18525"/>
                      <a:pt x="289906" y="16732"/>
                    </a:cubicBezTo>
                    <a:cubicBezTo>
                      <a:pt x="281202" y="11354"/>
                      <a:pt x="271773" y="6573"/>
                      <a:pt x="260893" y="4183"/>
                    </a:cubicBezTo>
                    <a:cubicBezTo>
                      <a:pt x="251464" y="1793"/>
                      <a:pt x="242035" y="0"/>
                      <a:pt x="231880" y="0"/>
                    </a:cubicBezTo>
                    <a:cubicBezTo>
                      <a:pt x="221726" y="0"/>
                      <a:pt x="211571" y="1195"/>
                      <a:pt x="202867" y="4183"/>
                    </a:cubicBezTo>
                    <a:cubicBezTo>
                      <a:pt x="191988" y="7171"/>
                      <a:pt x="182558" y="11354"/>
                      <a:pt x="173855" y="16732"/>
                    </a:cubicBezTo>
                    <a:cubicBezTo>
                      <a:pt x="170953" y="18525"/>
                      <a:pt x="169503" y="20915"/>
                      <a:pt x="168777" y="23306"/>
                    </a:cubicBezTo>
                    <a:lnTo>
                      <a:pt x="159348" y="57966"/>
                    </a:lnTo>
                    <a:lnTo>
                      <a:pt x="159348" y="57966"/>
                    </a:lnTo>
                    <a:lnTo>
                      <a:pt x="149919" y="23306"/>
                    </a:lnTo>
                    <a:cubicBezTo>
                      <a:pt x="149194" y="20915"/>
                      <a:pt x="147743" y="18525"/>
                      <a:pt x="144842" y="16732"/>
                    </a:cubicBezTo>
                    <a:cubicBezTo>
                      <a:pt x="136138" y="11354"/>
                      <a:pt x="126709" y="6573"/>
                      <a:pt x="115829" y="4183"/>
                    </a:cubicBezTo>
                    <a:cubicBezTo>
                      <a:pt x="106400" y="1793"/>
                      <a:pt x="96970" y="0"/>
                      <a:pt x="86816" y="0"/>
                    </a:cubicBezTo>
                    <a:cubicBezTo>
                      <a:pt x="76661" y="0"/>
                      <a:pt x="66507" y="1195"/>
                      <a:pt x="57803" y="4183"/>
                    </a:cubicBezTo>
                    <a:cubicBezTo>
                      <a:pt x="46923" y="7171"/>
                      <a:pt x="37494" y="11354"/>
                      <a:pt x="28790" y="16732"/>
                    </a:cubicBezTo>
                    <a:cubicBezTo>
                      <a:pt x="25889" y="18525"/>
                      <a:pt x="24438" y="20915"/>
                      <a:pt x="23713" y="23306"/>
                    </a:cubicBezTo>
                    <a:lnTo>
                      <a:pt x="503" y="109955"/>
                    </a:lnTo>
                    <a:cubicBezTo>
                      <a:pt x="-1673" y="116529"/>
                      <a:pt x="3404" y="123700"/>
                      <a:pt x="12108" y="124895"/>
                    </a:cubicBezTo>
                    <a:cubicBezTo>
                      <a:pt x="12833" y="124895"/>
                      <a:pt x="13558" y="124895"/>
                      <a:pt x="14284" y="124895"/>
                    </a:cubicBezTo>
                    <a:cubicBezTo>
                      <a:pt x="20812" y="124895"/>
                      <a:pt x="26614" y="121309"/>
                      <a:pt x="28790" y="115334"/>
                    </a:cubicBezTo>
                    <a:lnTo>
                      <a:pt x="50550" y="35855"/>
                    </a:lnTo>
                    <a:lnTo>
                      <a:pt x="50550" y="78283"/>
                    </a:lnTo>
                    <a:lnTo>
                      <a:pt x="28790" y="167323"/>
                    </a:lnTo>
                    <a:lnTo>
                      <a:pt x="50550" y="167323"/>
                    </a:lnTo>
                    <a:lnTo>
                      <a:pt x="50550" y="268913"/>
                    </a:lnTo>
                    <a:lnTo>
                      <a:pt x="79563" y="268913"/>
                    </a:lnTo>
                    <a:lnTo>
                      <a:pt x="79563" y="167323"/>
                    </a:lnTo>
                    <a:lnTo>
                      <a:pt x="94069" y="167323"/>
                    </a:lnTo>
                    <a:lnTo>
                      <a:pt x="94069" y="268913"/>
                    </a:lnTo>
                    <a:lnTo>
                      <a:pt x="123082" y="268913"/>
                    </a:lnTo>
                    <a:lnTo>
                      <a:pt x="123082" y="167323"/>
                    </a:lnTo>
                    <a:lnTo>
                      <a:pt x="144842" y="167323"/>
                    </a:lnTo>
                    <a:lnTo>
                      <a:pt x="123082" y="78283"/>
                    </a:lnTo>
                    <a:lnTo>
                      <a:pt x="123082" y="35855"/>
                    </a:lnTo>
                    <a:lnTo>
                      <a:pt x="144842" y="115931"/>
                    </a:lnTo>
                    <a:cubicBezTo>
                      <a:pt x="146292" y="121309"/>
                      <a:pt x="152095" y="125493"/>
                      <a:pt x="158623" y="125493"/>
                    </a:cubicBezTo>
                    <a:lnTo>
                      <a:pt x="158623" y="125493"/>
                    </a:lnTo>
                    <a:cubicBezTo>
                      <a:pt x="165151" y="125493"/>
                      <a:pt x="170953" y="121907"/>
                      <a:pt x="172404" y="115931"/>
                    </a:cubicBezTo>
                    <a:lnTo>
                      <a:pt x="195614" y="35855"/>
                    </a:lnTo>
                    <a:lnTo>
                      <a:pt x="195614" y="131468"/>
                    </a:lnTo>
                    <a:lnTo>
                      <a:pt x="195614" y="268913"/>
                    </a:lnTo>
                    <a:lnTo>
                      <a:pt x="224627" y="268913"/>
                    </a:lnTo>
                    <a:lnTo>
                      <a:pt x="224627" y="131468"/>
                    </a:lnTo>
                    <a:lnTo>
                      <a:pt x="239133" y="131468"/>
                    </a:lnTo>
                    <a:lnTo>
                      <a:pt x="239133" y="268913"/>
                    </a:lnTo>
                    <a:lnTo>
                      <a:pt x="268146" y="268913"/>
                    </a:lnTo>
                    <a:lnTo>
                      <a:pt x="268146" y="131468"/>
                    </a:lnTo>
                    <a:lnTo>
                      <a:pt x="268146" y="35855"/>
                    </a:lnTo>
                    <a:lnTo>
                      <a:pt x="289906" y="115931"/>
                    </a:lnTo>
                    <a:cubicBezTo>
                      <a:pt x="291357" y="121309"/>
                      <a:pt x="297159" y="125493"/>
                      <a:pt x="304412" y="125493"/>
                    </a:cubicBezTo>
                    <a:cubicBezTo>
                      <a:pt x="304412" y="125493"/>
                      <a:pt x="304412" y="125493"/>
                      <a:pt x="304412" y="125493"/>
                    </a:cubicBezTo>
                    <a:lnTo>
                      <a:pt x="304412" y="125493"/>
                    </a:lnTo>
                    <a:cubicBezTo>
                      <a:pt x="310940" y="125493"/>
                      <a:pt x="316743" y="121907"/>
                      <a:pt x="318194" y="115931"/>
                    </a:cubicBezTo>
                    <a:lnTo>
                      <a:pt x="340679" y="35855"/>
                    </a:lnTo>
                    <a:lnTo>
                      <a:pt x="340679" y="78881"/>
                    </a:lnTo>
                    <a:lnTo>
                      <a:pt x="318919" y="167323"/>
                    </a:lnTo>
                    <a:lnTo>
                      <a:pt x="340679" y="167323"/>
                    </a:lnTo>
                    <a:lnTo>
                      <a:pt x="340679" y="268913"/>
                    </a:lnTo>
                    <a:lnTo>
                      <a:pt x="369691" y="268913"/>
                    </a:lnTo>
                    <a:lnTo>
                      <a:pt x="369691" y="167323"/>
                    </a:lnTo>
                    <a:lnTo>
                      <a:pt x="384198" y="167323"/>
                    </a:lnTo>
                    <a:lnTo>
                      <a:pt x="384198" y="268913"/>
                    </a:lnTo>
                    <a:lnTo>
                      <a:pt x="413211" y="268913"/>
                    </a:lnTo>
                    <a:lnTo>
                      <a:pt x="413211" y="167323"/>
                    </a:lnTo>
                    <a:lnTo>
                      <a:pt x="434970" y="167323"/>
                    </a:lnTo>
                    <a:lnTo>
                      <a:pt x="413211" y="77686"/>
                    </a:lnTo>
                    <a:lnTo>
                      <a:pt x="413211" y="35855"/>
                    </a:lnTo>
                    <a:lnTo>
                      <a:pt x="434970" y="115931"/>
                    </a:lnTo>
                    <a:cubicBezTo>
                      <a:pt x="436421" y="121309"/>
                      <a:pt x="442224" y="125493"/>
                      <a:pt x="449477" y="125493"/>
                    </a:cubicBezTo>
                    <a:cubicBezTo>
                      <a:pt x="449477" y="125493"/>
                      <a:pt x="449477" y="125493"/>
                      <a:pt x="449477" y="125493"/>
                    </a:cubicBezTo>
                    <a:lnTo>
                      <a:pt x="449477" y="125493"/>
                    </a:lnTo>
                    <a:cubicBezTo>
                      <a:pt x="449477" y="125493"/>
                      <a:pt x="449477" y="125493"/>
                      <a:pt x="449477" y="125493"/>
                    </a:cubicBezTo>
                    <a:cubicBezTo>
                      <a:pt x="456005" y="125493"/>
                      <a:pt x="461807" y="121907"/>
                      <a:pt x="463983" y="115931"/>
                    </a:cubicBezTo>
                    <a:lnTo>
                      <a:pt x="485743" y="35855"/>
                    </a:lnTo>
                    <a:lnTo>
                      <a:pt x="485743" y="131468"/>
                    </a:lnTo>
                    <a:lnTo>
                      <a:pt x="485743" y="268913"/>
                    </a:lnTo>
                    <a:lnTo>
                      <a:pt x="514756" y="268913"/>
                    </a:lnTo>
                    <a:lnTo>
                      <a:pt x="514756" y="131468"/>
                    </a:lnTo>
                    <a:lnTo>
                      <a:pt x="529262" y="131468"/>
                    </a:lnTo>
                    <a:lnTo>
                      <a:pt x="529262" y="268913"/>
                    </a:lnTo>
                    <a:lnTo>
                      <a:pt x="558275" y="268913"/>
                    </a:lnTo>
                    <a:lnTo>
                      <a:pt x="558275" y="131468"/>
                    </a:lnTo>
                    <a:lnTo>
                      <a:pt x="558275" y="35855"/>
                    </a:lnTo>
                    <a:lnTo>
                      <a:pt x="580035" y="115931"/>
                    </a:lnTo>
                    <a:cubicBezTo>
                      <a:pt x="581485" y="121309"/>
                      <a:pt x="587288" y="125493"/>
                      <a:pt x="594541" y="125493"/>
                    </a:cubicBezTo>
                    <a:cubicBezTo>
                      <a:pt x="595992" y="125493"/>
                      <a:pt x="598168" y="125493"/>
                      <a:pt x="599618" y="124895"/>
                    </a:cubicBezTo>
                    <a:cubicBezTo>
                      <a:pt x="606146" y="122505"/>
                      <a:pt x="609773" y="116529"/>
                      <a:pt x="608322" y="110553"/>
                    </a:cubicBezTo>
                    <a:close/>
                  </a:path>
                </a:pathLst>
              </a:custGeom>
              <a:solidFill>
                <a:srgbClr val="FFC000"/>
              </a:solidFill>
              <a:ln w="7243" cap="flat">
                <a:noFill/>
                <a:prstDash val="solid"/>
                <a:miter/>
              </a:ln>
            </p:spPr>
            <p:txBody>
              <a:bodyPr rtlCol="0" anchor="ctr"/>
              <a:lstStyle/>
              <a:p>
                <a:endParaRPr lang="en-US" sz="2400"/>
              </a:p>
            </p:txBody>
          </p:sp>
        </p:grpSp>
        <p:grpSp>
          <p:nvGrpSpPr>
            <p:cNvPr id="734" name="Graphic 203" descr="Group">
              <a:extLst>
                <a:ext uri="{FF2B5EF4-FFF2-40B4-BE49-F238E27FC236}">
                  <a16:creationId xmlns:a16="http://schemas.microsoft.com/office/drawing/2014/main" id="{1E317035-0CC7-46BF-AF9A-B58A105F1657}"/>
                </a:ext>
              </a:extLst>
            </p:cNvPr>
            <p:cNvGrpSpPr/>
            <p:nvPr/>
          </p:nvGrpSpPr>
          <p:grpSpPr>
            <a:xfrm>
              <a:off x="2016051" y="656903"/>
              <a:ext cx="562369" cy="352861"/>
              <a:chOff x="6285793" y="572129"/>
              <a:chExt cx="562369" cy="352861"/>
            </a:xfrm>
          </p:grpSpPr>
          <p:sp>
            <p:nvSpPr>
              <p:cNvPr id="735" name="Freeform: Shape 734">
                <a:extLst>
                  <a:ext uri="{FF2B5EF4-FFF2-40B4-BE49-F238E27FC236}">
                    <a16:creationId xmlns:a16="http://schemas.microsoft.com/office/drawing/2014/main" id="{C8F26E0E-6F55-4DAF-A621-7C3B1F76904A}"/>
                  </a:ext>
                </a:extLst>
              </p:cNvPr>
              <p:cNvSpPr/>
              <p:nvPr/>
            </p:nvSpPr>
            <p:spPr>
              <a:xfrm>
                <a:off x="6739546"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736" name="Freeform: Shape 735">
                <a:extLst>
                  <a:ext uri="{FF2B5EF4-FFF2-40B4-BE49-F238E27FC236}">
                    <a16:creationId xmlns:a16="http://schemas.microsoft.com/office/drawing/2014/main" id="{6A8E9EBD-E636-40F0-A156-7BD41A9D27DA}"/>
                  </a:ext>
                </a:extLst>
              </p:cNvPr>
              <p:cNvSpPr/>
              <p:nvPr/>
            </p:nvSpPr>
            <p:spPr>
              <a:xfrm>
                <a:off x="6333014"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737" name="Freeform: Shape 736">
                <a:extLst>
                  <a:ext uri="{FF2B5EF4-FFF2-40B4-BE49-F238E27FC236}">
                    <a16:creationId xmlns:a16="http://schemas.microsoft.com/office/drawing/2014/main" id="{A2CFD2AB-52DB-4497-811D-6ACB32071613}"/>
                  </a:ext>
                </a:extLst>
              </p:cNvPr>
              <p:cNvSpPr/>
              <p:nvPr/>
            </p:nvSpPr>
            <p:spPr>
              <a:xfrm>
                <a:off x="660403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738" name="Freeform: Shape 737">
                <a:extLst>
                  <a:ext uri="{FF2B5EF4-FFF2-40B4-BE49-F238E27FC236}">
                    <a16:creationId xmlns:a16="http://schemas.microsoft.com/office/drawing/2014/main" id="{BC87F94F-293E-4D1A-AA81-9D7DFF2A1A42}"/>
                  </a:ext>
                </a:extLst>
              </p:cNvPr>
              <p:cNvSpPr/>
              <p:nvPr/>
            </p:nvSpPr>
            <p:spPr>
              <a:xfrm>
                <a:off x="6468525" y="572129"/>
                <a:ext cx="67755" cy="63011"/>
              </a:xfrm>
              <a:custGeom>
                <a:avLst/>
                <a:gdLst>
                  <a:gd name="connsiteX0" fmla="*/ 67755 w 67755"/>
                  <a:gd name="connsiteY0" fmla="*/ 31505 h 63010"/>
                  <a:gd name="connsiteX1" fmla="*/ 33878 w 67755"/>
                  <a:gd name="connsiteY1" fmla="*/ 63011 h 63010"/>
                  <a:gd name="connsiteX2" fmla="*/ 0 w 67755"/>
                  <a:gd name="connsiteY2" fmla="*/ 31505 h 63010"/>
                  <a:gd name="connsiteX3" fmla="*/ 33878 w 67755"/>
                  <a:gd name="connsiteY3" fmla="*/ 0 h 63010"/>
                  <a:gd name="connsiteX4" fmla="*/ 67755 w 67755"/>
                  <a:gd name="connsiteY4" fmla="*/ 31505 h 63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5" h="63010">
                    <a:moveTo>
                      <a:pt x="67755" y="31505"/>
                    </a:moveTo>
                    <a:cubicBezTo>
                      <a:pt x="67755" y="48905"/>
                      <a:pt x="52588" y="63011"/>
                      <a:pt x="33878" y="63011"/>
                    </a:cubicBezTo>
                    <a:cubicBezTo>
                      <a:pt x="15168" y="63011"/>
                      <a:pt x="0" y="48905"/>
                      <a:pt x="0" y="31505"/>
                    </a:cubicBezTo>
                    <a:cubicBezTo>
                      <a:pt x="0" y="14105"/>
                      <a:pt x="15168" y="0"/>
                      <a:pt x="33878" y="0"/>
                    </a:cubicBezTo>
                    <a:cubicBezTo>
                      <a:pt x="52588" y="0"/>
                      <a:pt x="67755" y="14105"/>
                      <a:pt x="67755" y="31505"/>
                    </a:cubicBezTo>
                    <a:close/>
                  </a:path>
                </a:pathLst>
              </a:custGeom>
              <a:solidFill>
                <a:srgbClr val="FFC000"/>
              </a:solidFill>
              <a:ln w="6747" cap="flat">
                <a:noFill/>
                <a:prstDash val="solid"/>
                <a:miter/>
              </a:ln>
            </p:spPr>
            <p:txBody>
              <a:bodyPr rtlCol="0" anchor="ctr"/>
              <a:lstStyle/>
              <a:p>
                <a:endParaRPr lang="en-US" sz="2400"/>
              </a:p>
            </p:txBody>
          </p:sp>
          <p:sp>
            <p:nvSpPr>
              <p:cNvPr id="739" name="Freeform: Shape 738">
                <a:extLst>
                  <a:ext uri="{FF2B5EF4-FFF2-40B4-BE49-F238E27FC236}">
                    <a16:creationId xmlns:a16="http://schemas.microsoft.com/office/drawing/2014/main" id="{A8236220-FA70-4B1F-A1BB-B1A4A6A1CD63}"/>
                  </a:ext>
                </a:extLst>
              </p:cNvPr>
              <p:cNvSpPr/>
              <p:nvPr/>
            </p:nvSpPr>
            <p:spPr>
              <a:xfrm>
                <a:off x="6285793" y="641441"/>
                <a:ext cx="562369" cy="283549"/>
              </a:xfrm>
              <a:custGeom>
                <a:avLst/>
                <a:gdLst>
                  <a:gd name="connsiteX0" fmla="*/ 568259 w 562369"/>
                  <a:gd name="connsiteY0" fmla="*/ 116570 h 283548"/>
                  <a:gd name="connsiteX1" fmla="*/ 546577 w 562369"/>
                  <a:gd name="connsiteY1" fmla="*/ 24574 h 283548"/>
                  <a:gd name="connsiteX2" fmla="*/ 541834 w 562369"/>
                  <a:gd name="connsiteY2" fmla="*/ 17643 h 283548"/>
                  <a:gd name="connsiteX3" fmla="*/ 514732 w 562369"/>
                  <a:gd name="connsiteY3" fmla="*/ 4411 h 283548"/>
                  <a:gd name="connsiteX4" fmla="*/ 487630 w 562369"/>
                  <a:gd name="connsiteY4" fmla="*/ 0 h 283548"/>
                  <a:gd name="connsiteX5" fmla="*/ 460528 w 562369"/>
                  <a:gd name="connsiteY5" fmla="*/ 4411 h 283548"/>
                  <a:gd name="connsiteX6" fmla="*/ 433426 w 562369"/>
                  <a:gd name="connsiteY6" fmla="*/ 17643 h 283548"/>
                  <a:gd name="connsiteX7" fmla="*/ 428683 w 562369"/>
                  <a:gd name="connsiteY7" fmla="*/ 24574 h 283548"/>
                  <a:gd name="connsiteX8" fmla="*/ 419875 w 562369"/>
                  <a:gd name="connsiteY8" fmla="*/ 61751 h 283548"/>
                  <a:gd name="connsiteX9" fmla="*/ 419875 w 562369"/>
                  <a:gd name="connsiteY9" fmla="*/ 61751 h 283548"/>
                  <a:gd name="connsiteX10" fmla="*/ 411067 w 562369"/>
                  <a:gd name="connsiteY10" fmla="*/ 24574 h 283548"/>
                  <a:gd name="connsiteX11" fmla="*/ 406324 w 562369"/>
                  <a:gd name="connsiteY11" fmla="*/ 17643 h 283548"/>
                  <a:gd name="connsiteX12" fmla="*/ 379222 w 562369"/>
                  <a:gd name="connsiteY12" fmla="*/ 4411 h 283548"/>
                  <a:gd name="connsiteX13" fmla="*/ 352120 w 562369"/>
                  <a:gd name="connsiteY13" fmla="*/ 0 h 283548"/>
                  <a:gd name="connsiteX14" fmla="*/ 325017 w 562369"/>
                  <a:gd name="connsiteY14" fmla="*/ 4411 h 283548"/>
                  <a:gd name="connsiteX15" fmla="*/ 297915 w 562369"/>
                  <a:gd name="connsiteY15" fmla="*/ 17643 h 283548"/>
                  <a:gd name="connsiteX16" fmla="*/ 293172 w 562369"/>
                  <a:gd name="connsiteY16" fmla="*/ 24574 h 283548"/>
                  <a:gd name="connsiteX17" fmla="*/ 284364 w 562369"/>
                  <a:gd name="connsiteY17" fmla="*/ 61121 h 283548"/>
                  <a:gd name="connsiteX18" fmla="*/ 284364 w 562369"/>
                  <a:gd name="connsiteY18" fmla="*/ 61751 h 283548"/>
                  <a:gd name="connsiteX19" fmla="*/ 275556 w 562369"/>
                  <a:gd name="connsiteY19" fmla="*/ 24574 h 283548"/>
                  <a:gd name="connsiteX20" fmla="*/ 270813 w 562369"/>
                  <a:gd name="connsiteY20" fmla="*/ 17643 h 283548"/>
                  <a:gd name="connsiteX21" fmla="*/ 243711 w 562369"/>
                  <a:gd name="connsiteY21" fmla="*/ 4411 h 283548"/>
                  <a:gd name="connsiteX22" fmla="*/ 216609 w 562369"/>
                  <a:gd name="connsiteY22" fmla="*/ 0 h 283548"/>
                  <a:gd name="connsiteX23" fmla="*/ 189507 w 562369"/>
                  <a:gd name="connsiteY23" fmla="*/ 4411 h 283548"/>
                  <a:gd name="connsiteX24" fmla="*/ 162405 w 562369"/>
                  <a:gd name="connsiteY24" fmla="*/ 17643 h 283548"/>
                  <a:gd name="connsiteX25" fmla="*/ 157662 w 562369"/>
                  <a:gd name="connsiteY25" fmla="*/ 24574 h 283548"/>
                  <a:gd name="connsiteX26" fmla="*/ 148854 w 562369"/>
                  <a:gd name="connsiteY26" fmla="*/ 61121 h 283548"/>
                  <a:gd name="connsiteX27" fmla="*/ 148854 w 562369"/>
                  <a:gd name="connsiteY27" fmla="*/ 61121 h 283548"/>
                  <a:gd name="connsiteX28" fmla="*/ 140045 w 562369"/>
                  <a:gd name="connsiteY28" fmla="*/ 24574 h 283548"/>
                  <a:gd name="connsiteX29" fmla="*/ 135303 w 562369"/>
                  <a:gd name="connsiteY29" fmla="*/ 17643 h 283548"/>
                  <a:gd name="connsiteX30" fmla="*/ 108200 w 562369"/>
                  <a:gd name="connsiteY30" fmla="*/ 4411 h 283548"/>
                  <a:gd name="connsiteX31" fmla="*/ 81098 w 562369"/>
                  <a:gd name="connsiteY31" fmla="*/ 0 h 283548"/>
                  <a:gd name="connsiteX32" fmla="*/ 53996 w 562369"/>
                  <a:gd name="connsiteY32" fmla="*/ 4411 h 283548"/>
                  <a:gd name="connsiteX33" fmla="*/ 26894 w 562369"/>
                  <a:gd name="connsiteY33" fmla="*/ 17643 h 283548"/>
                  <a:gd name="connsiteX34" fmla="*/ 22151 w 562369"/>
                  <a:gd name="connsiteY34" fmla="*/ 24574 h 283548"/>
                  <a:gd name="connsiteX35" fmla="*/ 469 w 562369"/>
                  <a:gd name="connsiteY35" fmla="*/ 115940 h 283548"/>
                  <a:gd name="connsiteX36" fmla="*/ 11310 w 562369"/>
                  <a:gd name="connsiteY36" fmla="*/ 131693 h 283548"/>
                  <a:gd name="connsiteX37" fmla="*/ 13343 w 562369"/>
                  <a:gd name="connsiteY37" fmla="*/ 131693 h 283548"/>
                  <a:gd name="connsiteX38" fmla="*/ 26894 w 562369"/>
                  <a:gd name="connsiteY38" fmla="*/ 121611 h 283548"/>
                  <a:gd name="connsiteX39" fmla="*/ 47221 w 562369"/>
                  <a:gd name="connsiteY39" fmla="*/ 37807 h 283548"/>
                  <a:gd name="connsiteX40" fmla="*/ 47221 w 562369"/>
                  <a:gd name="connsiteY40" fmla="*/ 82544 h 283548"/>
                  <a:gd name="connsiteX41" fmla="*/ 26894 w 562369"/>
                  <a:gd name="connsiteY41" fmla="*/ 176430 h 283548"/>
                  <a:gd name="connsiteX42" fmla="*/ 47221 w 562369"/>
                  <a:gd name="connsiteY42" fmla="*/ 176430 h 283548"/>
                  <a:gd name="connsiteX43" fmla="*/ 47221 w 562369"/>
                  <a:gd name="connsiteY43" fmla="*/ 283549 h 283548"/>
                  <a:gd name="connsiteX44" fmla="*/ 74323 w 562369"/>
                  <a:gd name="connsiteY44" fmla="*/ 283549 h 283548"/>
                  <a:gd name="connsiteX45" fmla="*/ 74323 w 562369"/>
                  <a:gd name="connsiteY45" fmla="*/ 176430 h 283548"/>
                  <a:gd name="connsiteX46" fmla="*/ 87874 w 562369"/>
                  <a:gd name="connsiteY46" fmla="*/ 176430 h 283548"/>
                  <a:gd name="connsiteX47" fmla="*/ 87874 w 562369"/>
                  <a:gd name="connsiteY47" fmla="*/ 283549 h 283548"/>
                  <a:gd name="connsiteX48" fmla="*/ 114976 w 562369"/>
                  <a:gd name="connsiteY48" fmla="*/ 283549 h 283548"/>
                  <a:gd name="connsiteX49" fmla="*/ 114976 w 562369"/>
                  <a:gd name="connsiteY49" fmla="*/ 176430 h 283548"/>
                  <a:gd name="connsiteX50" fmla="*/ 135303 w 562369"/>
                  <a:gd name="connsiteY50" fmla="*/ 176430 h 283548"/>
                  <a:gd name="connsiteX51" fmla="*/ 114976 w 562369"/>
                  <a:gd name="connsiteY51" fmla="*/ 82544 h 283548"/>
                  <a:gd name="connsiteX52" fmla="*/ 114976 w 562369"/>
                  <a:gd name="connsiteY52" fmla="*/ 37807 h 283548"/>
                  <a:gd name="connsiteX53" fmla="*/ 135303 w 562369"/>
                  <a:gd name="connsiteY53" fmla="*/ 122241 h 283548"/>
                  <a:gd name="connsiteX54" fmla="*/ 148176 w 562369"/>
                  <a:gd name="connsiteY54" fmla="*/ 132323 h 283548"/>
                  <a:gd name="connsiteX55" fmla="*/ 148176 w 562369"/>
                  <a:gd name="connsiteY55" fmla="*/ 132323 h 283548"/>
                  <a:gd name="connsiteX56" fmla="*/ 161050 w 562369"/>
                  <a:gd name="connsiteY56" fmla="*/ 122241 h 283548"/>
                  <a:gd name="connsiteX57" fmla="*/ 182731 w 562369"/>
                  <a:gd name="connsiteY57" fmla="*/ 37807 h 283548"/>
                  <a:gd name="connsiteX58" fmla="*/ 182731 w 562369"/>
                  <a:gd name="connsiteY58" fmla="*/ 138624 h 283548"/>
                  <a:gd name="connsiteX59" fmla="*/ 182731 w 562369"/>
                  <a:gd name="connsiteY59" fmla="*/ 283549 h 283548"/>
                  <a:gd name="connsiteX60" fmla="*/ 209833 w 562369"/>
                  <a:gd name="connsiteY60" fmla="*/ 283549 h 283548"/>
                  <a:gd name="connsiteX61" fmla="*/ 209833 w 562369"/>
                  <a:gd name="connsiteY61" fmla="*/ 138624 h 283548"/>
                  <a:gd name="connsiteX62" fmla="*/ 223384 w 562369"/>
                  <a:gd name="connsiteY62" fmla="*/ 138624 h 283548"/>
                  <a:gd name="connsiteX63" fmla="*/ 223384 w 562369"/>
                  <a:gd name="connsiteY63" fmla="*/ 283549 h 283548"/>
                  <a:gd name="connsiteX64" fmla="*/ 250487 w 562369"/>
                  <a:gd name="connsiteY64" fmla="*/ 283549 h 283548"/>
                  <a:gd name="connsiteX65" fmla="*/ 250487 w 562369"/>
                  <a:gd name="connsiteY65" fmla="*/ 138624 h 283548"/>
                  <a:gd name="connsiteX66" fmla="*/ 250487 w 562369"/>
                  <a:gd name="connsiteY66" fmla="*/ 37807 h 283548"/>
                  <a:gd name="connsiteX67" fmla="*/ 270813 w 562369"/>
                  <a:gd name="connsiteY67" fmla="*/ 122241 h 283548"/>
                  <a:gd name="connsiteX68" fmla="*/ 284364 w 562369"/>
                  <a:gd name="connsiteY68" fmla="*/ 132323 h 283548"/>
                  <a:gd name="connsiteX69" fmla="*/ 284364 w 562369"/>
                  <a:gd name="connsiteY69" fmla="*/ 132323 h 283548"/>
                  <a:gd name="connsiteX70" fmla="*/ 284364 w 562369"/>
                  <a:gd name="connsiteY70" fmla="*/ 132323 h 283548"/>
                  <a:gd name="connsiteX71" fmla="*/ 297238 w 562369"/>
                  <a:gd name="connsiteY71" fmla="*/ 122241 h 283548"/>
                  <a:gd name="connsiteX72" fmla="*/ 318242 w 562369"/>
                  <a:gd name="connsiteY72" fmla="*/ 37807 h 283548"/>
                  <a:gd name="connsiteX73" fmla="*/ 318242 w 562369"/>
                  <a:gd name="connsiteY73" fmla="*/ 83174 h 283548"/>
                  <a:gd name="connsiteX74" fmla="*/ 297915 w 562369"/>
                  <a:gd name="connsiteY74" fmla="*/ 176430 h 283548"/>
                  <a:gd name="connsiteX75" fmla="*/ 318242 w 562369"/>
                  <a:gd name="connsiteY75" fmla="*/ 176430 h 283548"/>
                  <a:gd name="connsiteX76" fmla="*/ 318242 w 562369"/>
                  <a:gd name="connsiteY76" fmla="*/ 283549 h 283548"/>
                  <a:gd name="connsiteX77" fmla="*/ 345344 w 562369"/>
                  <a:gd name="connsiteY77" fmla="*/ 283549 h 283548"/>
                  <a:gd name="connsiteX78" fmla="*/ 345344 w 562369"/>
                  <a:gd name="connsiteY78" fmla="*/ 176430 h 283548"/>
                  <a:gd name="connsiteX79" fmla="*/ 358895 w 562369"/>
                  <a:gd name="connsiteY79" fmla="*/ 176430 h 283548"/>
                  <a:gd name="connsiteX80" fmla="*/ 358895 w 562369"/>
                  <a:gd name="connsiteY80" fmla="*/ 283549 h 283548"/>
                  <a:gd name="connsiteX81" fmla="*/ 385997 w 562369"/>
                  <a:gd name="connsiteY81" fmla="*/ 283549 h 283548"/>
                  <a:gd name="connsiteX82" fmla="*/ 385997 w 562369"/>
                  <a:gd name="connsiteY82" fmla="*/ 176430 h 283548"/>
                  <a:gd name="connsiteX83" fmla="*/ 406324 w 562369"/>
                  <a:gd name="connsiteY83" fmla="*/ 176430 h 283548"/>
                  <a:gd name="connsiteX84" fmla="*/ 385997 w 562369"/>
                  <a:gd name="connsiteY84" fmla="*/ 81914 h 283548"/>
                  <a:gd name="connsiteX85" fmla="*/ 385997 w 562369"/>
                  <a:gd name="connsiteY85" fmla="*/ 37807 h 283548"/>
                  <a:gd name="connsiteX86" fmla="*/ 406324 w 562369"/>
                  <a:gd name="connsiteY86" fmla="*/ 122241 h 283548"/>
                  <a:gd name="connsiteX87" fmla="*/ 419875 w 562369"/>
                  <a:gd name="connsiteY87" fmla="*/ 132323 h 283548"/>
                  <a:gd name="connsiteX88" fmla="*/ 419875 w 562369"/>
                  <a:gd name="connsiteY88" fmla="*/ 132323 h 283548"/>
                  <a:gd name="connsiteX89" fmla="*/ 419875 w 562369"/>
                  <a:gd name="connsiteY89" fmla="*/ 132323 h 283548"/>
                  <a:gd name="connsiteX90" fmla="*/ 419875 w 562369"/>
                  <a:gd name="connsiteY90" fmla="*/ 132323 h 283548"/>
                  <a:gd name="connsiteX91" fmla="*/ 433426 w 562369"/>
                  <a:gd name="connsiteY91" fmla="*/ 122241 h 283548"/>
                  <a:gd name="connsiteX92" fmla="*/ 453753 w 562369"/>
                  <a:gd name="connsiteY92" fmla="*/ 37807 h 283548"/>
                  <a:gd name="connsiteX93" fmla="*/ 453753 w 562369"/>
                  <a:gd name="connsiteY93" fmla="*/ 138624 h 283548"/>
                  <a:gd name="connsiteX94" fmla="*/ 453753 w 562369"/>
                  <a:gd name="connsiteY94" fmla="*/ 283549 h 283548"/>
                  <a:gd name="connsiteX95" fmla="*/ 480855 w 562369"/>
                  <a:gd name="connsiteY95" fmla="*/ 283549 h 283548"/>
                  <a:gd name="connsiteX96" fmla="*/ 480855 w 562369"/>
                  <a:gd name="connsiteY96" fmla="*/ 138624 h 283548"/>
                  <a:gd name="connsiteX97" fmla="*/ 494406 w 562369"/>
                  <a:gd name="connsiteY97" fmla="*/ 138624 h 283548"/>
                  <a:gd name="connsiteX98" fmla="*/ 494406 w 562369"/>
                  <a:gd name="connsiteY98" fmla="*/ 283549 h 283548"/>
                  <a:gd name="connsiteX99" fmla="*/ 521508 w 562369"/>
                  <a:gd name="connsiteY99" fmla="*/ 283549 h 283548"/>
                  <a:gd name="connsiteX100" fmla="*/ 521508 w 562369"/>
                  <a:gd name="connsiteY100" fmla="*/ 138624 h 283548"/>
                  <a:gd name="connsiteX101" fmla="*/ 521508 w 562369"/>
                  <a:gd name="connsiteY101" fmla="*/ 37807 h 283548"/>
                  <a:gd name="connsiteX102" fmla="*/ 541834 w 562369"/>
                  <a:gd name="connsiteY102" fmla="*/ 122241 h 283548"/>
                  <a:gd name="connsiteX103" fmla="*/ 555386 w 562369"/>
                  <a:gd name="connsiteY103" fmla="*/ 132323 h 283548"/>
                  <a:gd name="connsiteX104" fmla="*/ 560128 w 562369"/>
                  <a:gd name="connsiteY104" fmla="*/ 131693 h 283548"/>
                  <a:gd name="connsiteX105" fmla="*/ 568259 w 562369"/>
                  <a:gd name="connsiteY105" fmla="*/ 116570 h 28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62369" h="283548">
                    <a:moveTo>
                      <a:pt x="568259" y="116570"/>
                    </a:moveTo>
                    <a:lnTo>
                      <a:pt x="546577" y="24574"/>
                    </a:lnTo>
                    <a:cubicBezTo>
                      <a:pt x="545900" y="22054"/>
                      <a:pt x="544545" y="19533"/>
                      <a:pt x="541834" y="17643"/>
                    </a:cubicBezTo>
                    <a:cubicBezTo>
                      <a:pt x="533704" y="11972"/>
                      <a:pt x="524896" y="6931"/>
                      <a:pt x="514732" y="4411"/>
                    </a:cubicBezTo>
                    <a:cubicBezTo>
                      <a:pt x="505924" y="1890"/>
                      <a:pt x="497116" y="0"/>
                      <a:pt x="487630" y="0"/>
                    </a:cubicBezTo>
                    <a:cubicBezTo>
                      <a:pt x="478144" y="0"/>
                      <a:pt x="468659" y="1260"/>
                      <a:pt x="460528" y="4411"/>
                    </a:cubicBezTo>
                    <a:cubicBezTo>
                      <a:pt x="450365" y="7561"/>
                      <a:pt x="441557" y="11972"/>
                      <a:pt x="433426" y="17643"/>
                    </a:cubicBezTo>
                    <a:cubicBezTo>
                      <a:pt x="430716" y="19533"/>
                      <a:pt x="429361" y="22054"/>
                      <a:pt x="428683" y="24574"/>
                    </a:cubicBezTo>
                    <a:lnTo>
                      <a:pt x="419875" y="61751"/>
                    </a:lnTo>
                    <a:lnTo>
                      <a:pt x="419875" y="61751"/>
                    </a:lnTo>
                    <a:lnTo>
                      <a:pt x="411067" y="24574"/>
                    </a:lnTo>
                    <a:cubicBezTo>
                      <a:pt x="410389" y="22054"/>
                      <a:pt x="409034" y="19533"/>
                      <a:pt x="406324" y="17643"/>
                    </a:cubicBezTo>
                    <a:cubicBezTo>
                      <a:pt x="398193" y="11972"/>
                      <a:pt x="389385" y="6931"/>
                      <a:pt x="379222" y="4411"/>
                    </a:cubicBezTo>
                    <a:cubicBezTo>
                      <a:pt x="370414" y="1890"/>
                      <a:pt x="361605" y="0"/>
                      <a:pt x="352120" y="0"/>
                    </a:cubicBezTo>
                    <a:cubicBezTo>
                      <a:pt x="342634" y="0"/>
                      <a:pt x="333148" y="1260"/>
                      <a:pt x="325017" y="4411"/>
                    </a:cubicBezTo>
                    <a:cubicBezTo>
                      <a:pt x="314854" y="7561"/>
                      <a:pt x="306046" y="11972"/>
                      <a:pt x="297915" y="17643"/>
                    </a:cubicBezTo>
                    <a:cubicBezTo>
                      <a:pt x="295205" y="19533"/>
                      <a:pt x="293850" y="22054"/>
                      <a:pt x="293172" y="24574"/>
                    </a:cubicBezTo>
                    <a:lnTo>
                      <a:pt x="284364" y="61121"/>
                    </a:lnTo>
                    <a:lnTo>
                      <a:pt x="284364" y="61751"/>
                    </a:lnTo>
                    <a:lnTo>
                      <a:pt x="275556" y="24574"/>
                    </a:lnTo>
                    <a:cubicBezTo>
                      <a:pt x="274878" y="22054"/>
                      <a:pt x="273523" y="19533"/>
                      <a:pt x="270813" y="17643"/>
                    </a:cubicBezTo>
                    <a:cubicBezTo>
                      <a:pt x="262683" y="11972"/>
                      <a:pt x="253874" y="6931"/>
                      <a:pt x="243711" y="4411"/>
                    </a:cubicBezTo>
                    <a:cubicBezTo>
                      <a:pt x="234903" y="1890"/>
                      <a:pt x="226095" y="0"/>
                      <a:pt x="216609" y="0"/>
                    </a:cubicBezTo>
                    <a:cubicBezTo>
                      <a:pt x="207123" y="0"/>
                      <a:pt x="197637" y="1260"/>
                      <a:pt x="189507" y="4411"/>
                    </a:cubicBezTo>
                    <a:cubicBezTo>
                      <a:pt x="179344" y="7561"/>
                      <a:pt x="170535" y="11972"/>
                      <a:pt x="162405" y="17643"/>
                    </a:cubicBezTo>
                    <a:cubicBezTo>
                      <a:pt x="159694" y="19533"/>
                      <a:pt x="158339" y="22054"/>
                      <a:pt x="157662" y="24574"/>
                    </a:cubicBezTo>
                    <a:lnTo>
                      <a:pt x="148854" y="61121"/>
                    </a:lnTo>
                    <a:lnTo>
                      <a:pt x="148854" y="61121"/>
                    </a:lnTo>
                    <a:lnTo>
                      <a:pt x="140045" y="24574"/>
                    </a:lnTo>
                    <a:cubicBezTo>
                      <a:pt x="139368" y="22054"/>
                      <a:pt x="138013" y="19533"/>
                      <a:pt x="135303" y="17643"/>
                    </a:cubicBezTo>
                    <a:cubicBezTo>
                      <a:pt x="127172" y="11972"/>
                      <a:pt x="118364" y="6931"/>
                      <a:pt x="108200" y="4411"/>
                    </a:cubicBezTo>
                    <a:cubicBezTo>
                      <a:pt x="99392" y="1890"/>
                      <a:pt x="90584" y="0"/>
                      <a:pt x="81098" y="0"/>
                    </a:cubicBezTo>
                    <a:cubicBezTo>
                      <a:pt x="71613" y="0"/>
                      <a:pt x="62127" y="1260"/>
                      <a:pt x="53996" y="4411"/>
                    </a:cubicBezTo>
                    <a:cubicBezTo>
                      <a:pt x="43833" y="7561"/>
                      <a:pt x="35025" y="11972"/>
                      <a:pt x="26894" y="17643"/>
                    </a:cubicBezTo>
                    <a:cubicBezTo>
                      <a:pt x="24184" y="19533"/>
                      <a:pt x="22829" y="22054"/>
                      <a:pt x="22151" y="24574"/>
                    </a:cubicBezTo>
                    <a:lnTo>
                      <a:pt x="469" y="115940"/>
                    </a:lnTo>
                    <a:cubicBezTo>
                      <a:pt x="-1563" y="122871"/>
                      <a:pt x="3180" y="130432"/>
                      <a:pt x="11310" y="131693"/>
                    </a:cubicBezTo>
                    <a:cubicBezTo>
                      <a:pt x="11988" y="131693"/>
                      <a:pt x="12665" y="131693"/>
                      <a:pt x="13343" y="131693"/>
                    </a:cubicBezTo>
                    <a:cubicBezTo>
                      <a:pt x="19441" y="131693"/>
                      <a:pt x="24861" y="127912"/>
                      <a:pt x="26894" y="121611"/>
                    </a:cubicBezTo>
                    <a:lnTo>
                      <a:pt x="47221" y="37807"/>
                    </a:lnTo>
                    <a:lnTo>
                      <a:pt x="47221" y="82544"/>
                    </a:lnTo>
                    <a:lnTo>
                      <a:pt x="26894" y="176430"/>
                    </a:lnTo>
                    <a:lnTo>
                      <a:pt x="47221" y="176430"/>
                    </a:lnTo>
                    <a:lnTo>
                      <a:pt x="47221" y="283549"/>
                    </a:lnTo>
                    <a:lnTo>
                      <a:pt x="74323" y="283549"/>
                    </a:lnTo>
                    <a:lnTo>
                      <a:pt x="74323" y="176430"/>
                    </a:lnTo>
                    <a:lnTo>
                      <a:pt x="87874" y="176430"/>
                    </a:lnTo>
                    <a:lnTo>
                      <a:pt x="87874" y="283549"/>
                    </a:lnTo>
                    <a:lnTo>
                      <a:pt x="114976" y="283549"/>
                    </a:lnTo>
                    <a:lnTo>
                      <a:pt x="114976" y="176430"/>
                    </a:lnTo>
                    <a:lnTo>
                      <a:pt x="135303" y="176430"/>
                    </a:lnTo>
                    <a:lnTo>
                      <a:pt x="114976" y="82544"/>
                    </a:lnTo>
                    <a:lnTo>
                      <a:pt x="114976" y="37807"/>
                    </a:lnTo>
                    <a:lnTo>
                      <a:pt x="135303" y="122241"/>
                    </a:lnTo>
                    <a:cubicBezTo>
                      <a:pt x="136658" y="127912"/>
                      <a:pt x="142078" y="132323"/>
                      <a:pt x="148176" y="132323"/>
                    </a:cubicBezTo>
                    <a:lnTo>
                      <a:pt x="148176" y="132323"/>
                    </a:lnTo>
                    <a:cubicBezTo>
                      <a:pt x="154274" y="132323"/>
                      <a:pt x="159694" y="128542"/>
                      <a:pt x="161050" y="122241"/>
                    </a:cubicBezTo>
                    <a:lnTo>
                      <a:pt x="182731" y="37807"/>
                    </a:lnTo>
                    <a:lnTo>
                      <a:pt x="182731" y="138624"/>
                    </a:lnTo>
                    <a:lnTo>
                      <a:pt x="182731" y="283549"/>
                    </a:lnTo>
                    <a:lnTo>
                      <a:pt x="209833" y="283549"/>
                    </a:lnTo>
                    <a:lnTo>
                      <a:pt x="209833" y="138624"/>
                    </a:lnTo>
                    <a:lnTo>
                      <a:pt x="223384" y="138624"/>
                    </a:lnTo>
                    <a:lnTo>
                      <a:pt x="223384" y="283549"/>
                    </a:lnTo>
                    <a:lnTo>
                      <a:pt x="250487" y="283549"/>
                    </a:lnTo>
                    <a:lnTo>
                      <a:pt x="250487" y="138624"/>
                    </a:lnTo>
                    <a:lnTo>
                      <a:pt x="250487" y="37807"/>
                    </a:lnTo>
                    <a:lnTo>
                      <a:pt x="270813" y="122241"/>
                    </a:lnTo>
                    <a:cubicBezTo>
                      <a:pt x="272168" y="127912"/>
                      <a:pt x="277589" y="132323"/>
                      <a:pt x="284364" y="132323"/>
                    </a:cubicBezTo>
                    <a:cubicBezTo>
                      <a:pt x="284364" y="132323"/>
                      <a:pt x="284364" y="132323"/>
                      <a:pt x="284364" y="132323"/>
                    </a:cubicBezTo>
                    <a:lnTo>
                      <a:pt x="284364" y="132323"/>
                    </a:lnTo>
                    <a:cubicBezTo>
                      <a:pt x="290462" y="132323"/>
                      <a:pt x="295883" y="128542"/>
                      <a:pt x="297238" y="122241"/>
                    </a:cubicBezTo>
                    <a:lnTo>
                      <a:pt x="318242" y="37807"/>
                    </a:lnTo>
                    <a:lnTo>
                      <a:pt x="318242" y="83174"/>
                    </a:lnTo>
                    <a:lnTo>
                      <a:pt x="297915" y="176430"/>
                    </a:lnTo>
                    <a:lnTo>
                      <a:pt x="318242" y="176430"/>
                    </a:lnTo>
                    <a:lnTo>
                      <a:pt x="318242" y="283549"/>
                    </a:lnTo>
                    <a:lnTo>
                      <a:pt x="345344" y="283549"/>
                    </a:lnTo>
                    <a:lnTo>
                      <a:pt x="345344" y="176430"/>
                    </a:lnTo>
                    <a:lnTo>
                      <a:pt x="358895" y="176430"/>
                    </a:lnTo>
                    <a:lnTo>
                      <a:pt x="358895" y="283549"/>
                    </a:lnTo>
                    <a:lnTo>
                      <a:pt x="385997" y="283549"/>
                    </a:lnTo>
                    <a:lnTo>
                      <a:pt x="385997" y="176430"/>
                    </a:lnTo>
                    <a:lnTo>
                      <a:pt x="406324" y="176430"/>
                    </a:lnTo>
                    <a:lnTo>
                      <a:pt x="385997" y="81914"/>
                    </a:lnTo>
                    <a:lnTo>
                      <a:pt x="385997" y="37807"/>
                    </a:lnTo>
                    <a:lnTo>
                      <a:pt x="406324" y="122241"/>
                    </a:lnTo>
                    <a:cubicBezTo>
                      <a:pt x="407679" y="127912"/>
                      <a:pt x="413099" y="132323"/>
                      <a:pt x="419875" y="132323"/>
                    </a:cubicBezTo>
                    <a:cubicBezTo>
                      <a:pt x="419875" y="132323"/>
                      <a:pt x="419875" y="132323"/>
                      <a:pt x="419875" y="132323"/>
                    </a:cubicBezTo>
                    <a:lnTo>
                      <a:pt x="419875" y="132323"/>
                    </a:lnTo>
                    <a:cubicBezTo>
                      <a:pt x="419875" y="132323"/>
                      <a:pt x="419875" y="132323"/>
                      <a:pt x="419875" y="132323"/>
                    </a:cubicBezTo>
                    <a:cubicBezTo>
                      <a:pt x="425973" y="132323"/>
                      <a:pt x="431393" y="128542"/>
                      <a:pt x="433426" y="122241"/>
                    </a:cubicBezTo>
                    <a:lnTo>
                      <a:pt x="453753" y="37807"/>
                    </a:lnTo>
                    <a:lnTo>
                      <a:pt x="453753" y="138624"/>
                    </a:lnTo>
                    <a:lnTo>
                      <a:pt x="453753" y="283549"/>
                    </a:lnTo>
                    <a:lnTo>
                      <a:pt x="480855" y="283549"/>
                    </a:lnTo>
                    <a:lnTo>
                      <a:pt x="480855" y="138624"/>
                    </a:lnTo>
                    <a:lnTo>
                      <a:pt x="494406" y="138624"/>
                    </a:lnTo>
                    <a:lnTo>
                      <a:pt x="494406" y="283549"/>
                    </a:lnTo>
                    <a:lnTo>
                      <a:pt x="521508" y="283549"/>
                    </a:lnTo>
                    <a:lnTo>
                      <a:pt x="521508" y="138624"/>
                    </a:lnTo>
                    <a:lnTo>
                      <a:pt x="521508" y="37807"/>
                    </a:lnTo>
                    <a:lnTo>
                      <a:pt x="541834" y="122241"/>
                    </a:lnTo>
                    <a:cubicBezTo>
                      <a:pt x="543190" y="127912"/>
                      <a:pt x="548610" y="132323"/>
                      <a:pt x="555386" y="132323"/>
                    </a:cubicBezTo>
                    <a:cubicBezTo>
                      <a:pt x="556741" y="132323"/>
                      <a:pt x="558773" y="132323"/>
                      <a:pt x="560128" y="131693"/>
                    </a:cubicBezTo>
                    <a:cubicBezTo>
                      <a:pt x="566226" y="129172"/>
                      <a:pt x="569614" y="122871"/>
                      <a:pt x="568259" y="116570"/>
                    </a:cubicBezTo>
                    <a:close/>
                  </a:path>
                </a:pathLst>
              </a:custGeom>
              <a:solidFill>
                <a:srgbClr val="FFC000"/>
              </a:solidFill>
              <a:ln w="6747" cap="flat">
                <a:noFill/>
                <a:prstDash val="solid"/>
                <a:miter/>
              </a:ln>
            </p:spPr>
            <p:txBody>
              <a:bodyPr rtlCol="0" anchor="ctr"/>
              <a:lstStyle/>
              <a:p>
                <a:endParaRPr lang="en-US" sz="2400"/>
              </a:p>
            </p:txBody>
          </p:sp>
        </p:grpSp>
        <p:grpSp>
          <p:nvGrpSpPr>
            <p:cNvPr id="740" name="Graphic 205" descr="Group">
              <a:extLst>
                <a:ext uri="{FF2B5EF4-FFF2-40B4-BE49-F238E27FC236}">
                  <a16:creationId xmlns:a16="http://schemas.microsoft.com/office/drawing/2014/main" id="{260E1F34-9E5A-4A60-8F0D-3A11678BFB91}"/>
                </a:ext>
              </a:extLst>
            </p:cNvPr>
            <p:cNvGrpSpPr/>
            <p:nvPr/>
          </p:nvGrpSpPr>
          <p:grpSpPr>
            <a:xfrm>
              <a:off x="3325171" y="679475"/>
              <a:ext cx="633129" cy="354585"/>
              <a:chOff x="7560077" y="594700"/>
              <a:chExt cx="633129" cy="354585"/>
            </a:xfrm>
          </p:grpSpPr>
          <p:sp>
            <p:nvSpPr>
              <p:cNvPr id="741" name="Freeform: Shape 740">
                <a:extLst>
                  <a:ext uri="{FF2B5EF4-FFF2-40B4-BE49-F238E27FC236}">
                    <a16:creationId xmlns:a16="http://schemas.microsoft.com/office/drawing/2014/main" id="{E185C300-386C-47FB-B998-78EE6368F3B3}"/>
                  </a:ext>
                </a:extLst>
              </p:cNvPr>
              <p:cNvSpPr/>
              <p:nvPr/>
            </p:nvSpPr>
            <p:spPr>
              <a:xfrm>
                <a:off x="8070923"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742" name="Freeform: Shape 741">
                <a:extLst>
                  <a:ext uri="{FF2B5EF4-FFF2-40B4-BE49-F238E27FC236}">
                    <a16:creationId xmlns:a16="http://schemas.microsoft.com/office/drawing/2014/main" id="{8B8B368E-FC80-461A-B0E6-051434AA0145}"/>
                  </a:ext>
                </a:extLst>
              </p:cNvPr>
              <p:cNvSpPr/>
              <p:nvPr/>
            </p:nvSpPr>
            <p:spPr>
              <a:xfrm>
                <a:off x="7613239"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743" name="Freeform: Shape 742">
                <a:extLst>
                  <a:ext uri="{FF2B5EF4-FFF2-40B4-BE49-F238E27FC236}">
                    <a16:creationId xmlns:a16="http://schemas.microsoft.com/office/drawing/2014/main" id="{7BAFE96B-97E5-4FCF-B9A5-00BE3290F7AB}"/>
                  </a:ext>
                </a:extLst>
              </p:cNvPr>
              <p:cNvSpPr/>
              <p:nvPr/>
            </p:nvSpPr>
            <p:spPr>
              <a:xfrm>
                <a:off x="7918361"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744" name="Freeform: Shape 743">
                <a:extLst>
                  <a:ext uri="{FF2B5EF4-FFF2-40B4-BE49-F238E27FC236}">
                    <a16:creationId xmlns:a16="http://schemas.microsoft.com/office/drawing/2014/main" id="{EC027C3E-5BC9-4177-A061-953392AA683F}"/>
                  </a:ext>
                </a:extLst>
              </p:cNvPr>
              <p:cNvSpPr/>
              <p:nvPr/>
            </p:nvSpPr>
            <p:spPr>
              <a:xfrm>
                <a:off x="7765800" y="594700"/>
                <a:ext cx="76281" cy="63319"/>
              </a:xfrm>
              <a:custGeom>
                <a:avLst/>
                <a:gdLst>
                  <a:gd name="connsiteX0" fmla="*/ 76281 w 76280"/>
                  <a:gd name="connsiteY0" fmla="*/ 31659 h 63318"/>
                  <a:gd name="connsiteX1" fmla="*/ 38140 w 76280"/>
                  <a:gd name="connsiteY1" fmla="*/ 63319 h 63318"/>
                  <a:gd name="connsiteX2" fmla="*/ 0 w 76280"/>
                  <a:gd name="connsiteY2" fmla="*/ 31659 h 63318"/>
                  <a:gd name="connsiteX3" fmla="*/ 38140 w 76280"/>
                  <a:gd name="connsiteY3" fmla="*/ 0 h 63318"/>
                  <a:gd name="connsiteX4" fmla="*/ 76281 w 76280"/>
                  <a:gd name="connsiteY4" fmla="*/ 31659 h 6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0" h="63318">
                    <a:moveTo>
                      <a:pt x="76281" y="31659"/>
                    </a:moveTo>
                    <a:cubicBezTo>
                      <a:pt x="76281" y="49144"/>
                      <a:pt x="59205" y="63319"/>
                      <a:pt x="38140" y="63319"/>
                    </a:cubicBezTo>
                    <a:cubicBezTo>
                      <a:pt x="17076" y="63319"/>
                      <a:pt x="0" y="49144"/>
                      <a:pt x="0" y="31659"/>
                    </a:cubicBezTo>
                    <a:cubicBezTo>
                      <a:pt x="0" y="14174"/>
                      <a:pt x="17076" y="0"/>
                      <a:pt x="38140" y="0"/>
                    </a:cubicBezTo>
                    <a:cubicBezTo>
                      <a:pt x="59205" y="0"/>
                      <a:pt x="76281" y="14174"/>
                      <a:pt x="76281" y="31659"/>
                    </a:cubicBezTo>
                    <a:close/>
                  </a:path>
                </a:pathLst>
              </a:custGeom>
              <a:solidFill>
                <a:srgbClr val="FFC000"/>
              </a:solidFill>
              <a:ln w="7541" cap="flat">
                <a:noFill/>
                <a:prstDash val="solid"/>
                <a:miter/>
              </a:ln>
            </p:spPr>
            <p:txBody>
              <a:bodyPr rtlCol="0" anchor="ctr"/>
              <a:lstStyle/>
              <a:p>
                <a:endParaRPr lang="en-US" sz="2400"/>
              </a:p>
            </p:txBody>
          </p:sp>
          <p:sp>
            <p:nvSpPr>
              <p:cNvPr id="745" name="Freeform: Shape 744">
                <a:extLst>
                  <a:ext uri="{FF2B5EF4-FFF2-40B4-BE49-F238E27FC236}">
                    <a16:creationId xmlns:a16="http://schemas.microsoft.com/office/drawing/2014/main" id="{B41E1DDE-8A01-44D7-907B-B5A9AC1A5217}"/>
                  </a:ext>
                </a:extLst>
              </p:cNvPr>
              <p:cNvSpPr/>
              <p:nvPr/>
            </p:nvSpPr>
            <p:spPr>
              <a:xfrm>
                <a:off x="7560077" y="664350"/>
                <a:ext cx="633129" cy="284935"/>
              </a:xfrm>
              <a:custGeom>
                <a:avLst/>
                <a:gdLst>
                  <a:gd name="connsiteX0" fmla="*/ 639760 w 633129"/>
                  <a:gd name="connsiteY0" fmla="*/ 117140 h 284934"/>
                  <a:gd name="connsiteX1" fmla="*/ 615350 w 633129"/>
                  <a:gd name="connsiteY1" fmla="*/ 24694 h 284934"/>
                  <a:gd name="connsiteX2" fmla="*/ 610011 w 633129"/>
                  <a:gd name="connsiteY2" fmla="*/ 17729 h 284934"/>
                  <a:gd name="connsiteX3" fmla="*/ 579499 w 633129"/>
                  <a:gd name="connsiteY3" fmla="*/ 4432 h 284934"/>
                  <a:gd name="connsiteX4" fmla="*/ 548986 w 633129"/>
                  <a:gd name="connsiteY4" fmla="*/ 0 h 284934"/>
                  <a:gd name="connsiteX5" fmla="*/ 518474 w 633129"/>
                  <a:gd name="connsiteY5" fmla="*/ 4432 h 284934"/>
                  <a:gd name="connsiteX6" fmla="*/ 487962 w 633129"/>
                  <a:gd name="connsiteY6" fmla="*/ 17729 h 284934"/>
                  <a:gd name="connsiteX7" fmla="*/ 482622 w 633129"/>
                  <a:gd name="connsiteY7" fmla="*/ 24694 h 284934"/>
                  <a:gd name="connsiteX8" fmla="*/ 472706 w 633129"/>
                  <a:gd name="connsiteY8" fmla="*/ 62052 h 284934"/>
                  <a:gd name="connsiteX9" fmla="*/ 472706 w 633129"/>
                  <a:gd name="connsiteY9" fmla="*/ 62052 h 284934"/>
                  <a:gd name="connsiteX10" fmla="*/ 462789 w 633129"/>
                  <a:gd name="connsiteY10" fmla="*/ 24694 h 284934"/>
                  <a:gd name="connsiteX11" fmla="*/ 457450 w 633129"/>
                  <a:gd name="connsiteY11" fmla="*/ 17729 h 284934"/>
                  <a:gd name="connsiteX12" fmla="*/ 426937 w 633129"/>
                  <a:gd name="connsiteY12" fmla="*/ 4432 h 284934"/>
                  <a:gd name="connsiteX13" fmla="*/ 396425 w 633129"/>
                  <a:gd name="connsiteY13" fmla="*/ 0 h 284934"/>
                  <a:gd name="connsiteX14" fmla="*/ 365913 w 633129"/>
                  <a:gd name="connsiteY14" fmla="*/ 4432 h 284934"/>
                  <a:gd name="connsiteX15" fmla="*/ 335401 w 633129"/>
                  <a:gd name="connsiteY15" fmla="*/ 17729 h 284934"/>
                  <a:gd name="connsiteX16" fmla="*/ 330061 w 633129"/>
                  <a:gd name="connsiteY16" fmla="*/ 24694 h 284934"/>
                  <a:gd name="connsiteX17" fmla="*/ 320144 w 633129"/>
                  <a:gd name="connsiteY17" fmla="*/ 61419 h 284934"/>
                  <a:gd name="connsiteX18" fmla="*/ 320144 w 633129"/>
                  <a:gd name="connsiteY18" fmla="*/ 62052 h 284934"/>
                  <a:gd name="connsiteX19" fmla="*/ 310228 w 633129"/>
                  <a:gd name="connsiteY19" fmla="*/ 24694 h 284934"/>
                  <a:gd name="connsiteX20" fmla="*/ 304888 w 633129"/>
                  <a:gd name="connsiteY20" fmla="*/ 17729 h 284934"/>
                  <a:gd name="connsiteX21" fmla="*/ 274376 w 633129"/>
                  <a:gd name="connsiteY21" fmla="*/ 4432 h 284934"/>
                  <a:gd name="connsiteX22" fmla="*/ 243864 w 633129"/>
                  <a:gd name="connsiteY22" fmla="*/ 0 h 284934"/>
                  <a:gd name="connsiteX23" fmla="*/ 213352 w 633129"/>
                  <a:gd name="connsiteY23" fmla="*/ 4432 h 284934"/>
                  <a:gd name="connsiteX24" fmla="*/ 182839 w 633129"/>
                  <a:gd name="connsiteY24" fmla="*/ 17729 h 284934"/>
                  <a:gd name="connsiteX25" fmla="*/ 177500 w 633129"/>
                  <a:gd name="connsiteY25" fmla="*/ 24694 h 284934"/>
                  <a:gd name="connsiteX26" fmla="*/ 167583 w 633129"/>
                  <a:gd name="connsiteY26" fmla="*/ 61419 h 284934"/>
                  <a:gd name="connsiteX27" fmla="*/ 167583 w 633129"/>
                  <a:gd name="connsiteY27" fmla="*/ 61419 h 284934"/>
                  <a:gd name="connsiteX28" fmla="*/ 157667 w 633129"/>
                  <a:gd name="connsiteY28" fmla="*/ 24694 h 284934"/>
                  <a:gd name="connsiteX29" fmla="*/ 152327 w 633129"/>
                  <a:gd name="connsiteY29" fmla="*/ 17729 h 284934"/>
                  <a:gd name="connsiteX30" fmla="*/ 121815 w 633129"/>
                  <a:gd name="connsiteY30" fmla="*/ 4432 h 284934"/>
                  <a:gd name="connsiteX31" fmla="*/ 91302 w 633129"/>
                  <a:gd name="connsiteY31" fmla="*/ 0 h 284934"/>
                  <a:gd name="connsiteX32" fmla="*/ 60790 w 633129"/>
                  <a:gd name="connsiteY32" fmla="*/ 4432 h 284934"/>
                  <a:gd name="connsiteX33" fmla="*/ 30278 w 633129"/>
                  <a:gd name="connsiteY33" fmla="*/ 17729 h 284934"/>
                  <a:gd name="connsiteX34" fmla="*/ 24938 w 633129"/>
                  <a:gd name="connsiteY34" fmla="*/ 24694 h 284934"/>
                  <a:gd name="connsiteX35" fmla="*/ 529 w 633129"/>
                  <a:gd name="connsiteY35" fmla="*/ 116507 h 284934"/>
                  <a:gd name="connsiteX36" fmla="*/ 12733 w 633129"/>
                  <a:gd name="connsiteY36" fmla="*/ 132336 h 284934"/>
                  <a:gd name="connsiteX37" fmla="*/ 15022 w 633129"/>
                  <a:gd name="connsiteY37" fmla="*/ 132336 h 284934"/>
                  <a:gd name="connsiteX38" fmla="*/ 30278 w 633129"/>
                  <a:gd name="connsiteY38" fmla="*/ 122205 h 284934"/>
                  <a:gd name="connsiteX39" fmla="*/ 53162 w 633129"/>
                  <a:gd name="connsiteY39" fmla="*/ 37991 h 284934"/>
                  <a:gd name="connsiteX40" fmla="*/ 53162 w 633129"/>
                  <a:gd name="connsiteY40" fmla="*/ 82948 h 284934"/>
                  <a:gd name="connsiteX41" fmla="*/ 30278 w 633129"/>
                  <a:gd name="connsiteY41" fmla="*/ 177293 h 284934"/>
                  <a:gd name="connsiteX42" fmla="*/ 53162 w 633129"/>
                  <a:gd name="connsiteY42" fmla="*/ 177293 h 284934"/>
                  <a:gd name="connsiteX43" fmla="*/ 53162 w 633129"/>
                  <a:gd name="connsiteY43" fmla="*/ 284935 h 284934"/>
                  <a:gd name="connsiteX44" fmla="*/ 83674 w 633129"/>
                  <a:gd name="connsiteY44" fmla="*/ 284935 h 284934"/>
                  <a:gd name="connsiteX45" fmla="*/ 83674 w 633129"/>
                  <a:gd name="connsiteY45" fmla="*/ 177293 h 284934"/>
                  <a:gd name="connsiteX46" fmla="*/ 98931 w 633129"/>
                  <a:gd name="connsiteY46" fmla="*/ 177293 h 284934"/>
                  <a:gd name="connsiteX47" fmla="*/ 98931 w 633129"/>
                  <a:gd name="connsiteY47" fmla="*/ 284935 h 284934"/>
                  <a:gd name="connsiteX48" fmla="*/ 129443 w 633129"/>
                  <a:gd name="connsiteY48" fmla="*/ 284935 h 284934"/>
                  <a:gd name="connsiteX49" fmla="*/ 129443 w 633129"/>
                  <a:gd name="connsiteY49" fmla="*/ 177293 h 284934"/>
                  <a:gd name="connsiteX50" fmla="*/ 152327 w 633129"/>
                  <a:gd name="connsiteY50" fmla="*/ 177293 h 284934"/>
                  <a:gd name="connsiteX51" fmla="*/ 129443 w 633129"/>
                  <a:gd name="connsiteY51" fmla="*/ 82948 h 284934"/>
                  <a:gd name="connsiteX52" fmla="*/ 129443 w 633129"/>
                  <a:gd name="connsiteY52" fmla="*/ 37991 h 284934"/>
                  <a:gd name="connsiteX53" fmla="*/ 152327 w 633129"/>
                  <a:gd name="connsiteY53" fmla="*/ 122839 h 284934"/>
                  <a:gd name="connsiteX54" fmla="*/ 166820 w 633129"/>
                  <a:gd name="connsiteY54" fmla="*/ 132970 h 284934"/>
                  <a:gd name="connsiteX55" fmla="*/ 166820 w 633129"/>
                  <a:gd name="connsiteY55" fmla="*/ 132970 h 284934"/>
                  <a:gd name="connsiteX56" fmla="*/ 181314 w 633129"/>
                  <a:gd name="connsiteY56" fmla="*/ 122839 h 284934"/>
                  <a:gd name="connsiteX57" fmla="*/ 205723 w 633129"/>
                  <a:gd name="connsiteY57" fmla="*/ 37991 h 284934"/>
                  <a:gd name="connsiteX58" fmla="*/ 205723 w 633129"/>
                  <a:gd name="connsiteY58" fmla="*/ 139301 h 284934"/>
                  <a:gd name="connsiteX59" fmla="*/ 205723 w 633129"/>
                  <a:gd name="connsiteY59" fmla="*/ 284935 h 284934"/>
                  <a:gd name="connsiteX60" fmla="*/ 236236 w 633129"/>
                  <a:gd name="connsiteY60" fmla="*/ 284935 h 284934"/>
                  <a:gd name="connsiteX61" fmla="*/ 236236 w 633129"/>
                  <a:gd name="connsiteY61" fmla="*/ 139301 h 284934"/>
                  <a:gd name="connsiteX62" fmla="*/ 251492 w 633129"/>
                  <a:gd name="connsiteY62" fmla="*/ 139301 h 284934"/>
                  <a:gd name="connsiteX63" fmla="*/ 251492 w 633129"/>
                  <a:gd name="connsiteY63" fmla="*/ 284935 h 284934"/>
                  <a:gd name="connsiteX64" fmla="*/ 282004 w 633129"/>
                  <a:gd name="connsiteY64" fmla="*/ 284935 h 284934"/>
                  <a:gd name="connsiteX65" fmla="*/ 282004 w 633129"/>
                  <a:gd name="connsiteY65" fmla="*/ 139301 h 284934"/>
                  <a:gd name="connsiteX66" fmla="*/ 282004 w 633129"/>
                  <a:gd name="connsiteY66" fmla="*/ 37991 h 284934"/>
                  <a:gd name="connsiteX67" fmla="*/ 304888 w 633129"/>
                  <a:gd name="connsiteY67" fmla="*/ 122839 h 284934"/>
                  <a:gd name="connsiteX68" fmla="*/ 320144 w 633129"/>
                  <a:gd name="connsiteY68" fmla="*/ 132970 h 284934"/>
                  <a:gd name="connsiteX69" fmla="*/ 320144 w 633129"/>
                  <a:gd name="connsiteY69" fmla="*/ 132970 h 284934"/>
                  <a:gd name="connsiteX70" fmla="*/ 320144 w 633129"/>
                  <a:gd name="connsiteY70" fmla="*/ 132970 h 284934"/>
                  <a:gd name="connsiteX71" fmla="*/ 334638 w 633129"/>
                  <a:gd name="connsiteY71" fmla="*/ 122839 h 284934"/>
                  <a:gd name="connsiteX72" fmla="*/ 358285 w 633129"/>
                  <a:gd name="connsiteY72" fmla="*/ 37991 h 284934"/>
                  <a:gd name="connsiteX73" fmla="*/ 358285 w 633129"/>
                  <a:gd name="connsiteY73" fmla="*/ 83581 h 284934"/>
                  <a:gd name="connsiteX74" fmla="*/ 335401 w 633129"/>
                  <a:gd name="connsiteY74" fmla="*/ 177293 h 284934"/>
                  <a:gd name="connsiteX75" fmla="*/ 358285 w 633129"/>
                  <a:gd name="connsiteY75" fmla="*/ 177293 h 284934"/>
                  <a:gd name="connsiteX76" fmla="*/ 358285 w 633129"/>
                  <a:gd name="connsiteY76" fmla="*/ 284935 h 284934"/>
                  <a:gd name="connsiteX77" fmla="*/ 388797 w 633129"/>
                  <a:gd name="connsiteY77" fmla="*/ 284935 h 284934"/>
                  <a:gd name="connsiteX78" fmla="*/ 388797 w 633129"/>
                  <a:gd name="connsiteY78" fmla="*/ 177293 h 284934"/>
                  <a:gd name="connsiteX79" fmla="*/ 404053 w 633129"/>
                  <a:gd name="connsiteY79" fmla="*/ 177293 h 284934"/>
                  <a:gd name="connsiteX80" fmla="*/ 404053 w 633129"/>
                  <a:gd name="connsiteY80" fmla="*/ 284935 h 284934"/>
                  <a:gd name="connsiteX81" fmla="*/ 434565 w 633129"/>
                  <a:gd name="connsiteY81" fmla="*/ 284935 h 284934"/>
                  <a:gd name="connsiteX82" fmla="*/ 434565 w 633129"/>
                  <a:gd name="connsiteY82" fmla="*/ 177293 h 284934"/>
                  <a:gd name="connsiteX83" fmla="*/ 457450 w 633129"/>
                  <a:gd name="connsiteY83" fmla="*/ 177293 h 284934"/>
                  <a:gd name="connsiteX84" fmla="*/ 434565 w 633129"/>
                  <a:gd name="connsiteY84" fmla="*/ 82315 h 284934"/>
                  <a:gd name="connsiteX85" fmla="*/ 434565 w 633129"/>
                  <a:gd name="connsiteY85" fmla="*/ 37991 h 284934"/>
                  <a:gd name="connsiteX86" fmla="*/ 457450 w 633129"/>
                  <a:gd name="connsiteY86" fmla="*/ 122839 h 284934"/>
                  <a:gd name="connsiteX87" fmla="*/ 472706 w 633129"/>
                  <a:gd name="connsiteY87" fmla="*/ 132970 h 284934"/>
                  <a:gd name="connsiteX88" fmla="*/ 472706 w 633129"/>
                  <a:gd name="connsiteY88" fmla="*/ 132970 h 284934"/>
                  <a:gd name="connsiteX89" fmla="*/ 472706 w 633129"/>
                  <a:gd name="connsiteY89" fmla="*/ 132970 h 284934"/>
                  <a:gd name="connsiteX90" fmla="*/ 472706 w 633129"/>
                  <a:gd name="connsiteY90" fmla="*/ 132970 h 284934"/>
                  <a:gd name="connsiteX91" fmla="*/ 487962 w 633129"/>
                  <a:gd name="connsiteY91" fmla="*/ 122839 h 284934"/>
                  <a:gd name="connsiteX92" fmla="*/ 510846 w 633129"/>
                  <a:gd name="connsiteY92" fmla="*/ 37991 h 284934"/>
                  <a:gd name="connsiteX93" fmla="*/ 510846 w 633129"/>
                  <a:gd name="connsiteY93" fmla="*/ 139301 h 284934"/>
                  <a:gd name="connsiteX94" fmla="*/ 510846 w 633129"/>
                  <a:gd name="connsiteY94" fmla="*/ 284935 h 284934"/>
                  <a:gd name="connsiteX95" fmla="*/ 541358 w 633129"/>
                  <a:gd name="connsiteY95" fmla="*/ 284935 h 284934"/>
                  <a:gd name="connsiteX96" fmla="*/ 541358 w 633129"/>
                  <a:gd name="connsiteY96" fmla="*/ 139301 h 284934"/>
                  <a:gd name="connsiteX97" fmla="*/ 556614 w 633129"/>
                  <a:gd name="connsiteY97" fmla="*/ 139301 h 284934"/>
                  <a:gd name="connsiteX98" fmla="*/ 556614 w 633129"/>
                  <a:gd name="connsiteY98" fmla="*/ 284935 h 284934"/>
                  <a:gd name="connsiteX99" fmla="*/ 587127 w 633129"/>
                  <a:gd name="connsiteY99" fmla="*/ 284935 h 284934"/>
                  <a:gd name="connsiteX100" fmla="*/ 587127 w 633129"/>
                  <a:gd name="connsiteY100" fmla="*/ 139301 h 284934"/>
                  <a:gd name="connsiteX101" fmla="*/ 587127 w 633129"/>
                  <a:gd name="connsiteY101" fmla="*/ 37991 h 284934"/>
                  <a:gd name="connsiteX102" fmla="*/ 610011 w 633129"/>
                  <a:gd name="connsiteY102" fmla="*/ 122839 h 284934"/>
                  <a:gd name="connsiteX103" fmla="*/ 625267 w 633129"/>
                  <a:gd name="connsiteY103" fmla="*/ 132970 h 284934"/>
                  <a:gd name="connsiteX104" fmla="*/ 630607 w 633129"/>
                  <a:gd name="connsiteY104" fmla="*/ 132336 h 284934"/>
                  <a:gd name="connsiteX105" fmla="*/ 639760 w 633129"/>
                  <a:gd name="connsiteY105" fmla="*/ 117140 h 2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33129" h="284934">
                    <a:moveTo>
                      <a:pt x="639760" y="117140"/>
                    </a:moveTo>
                    <a:lnTo>
                      <a:pt x="615350" y="24694"/>
                    </a:lnTo>
                    <a:cubicBezTo>
                      <a:pt x="614588" y="22162"/>
                      <a:pt x="613062" y="19629"/>
                      <a:pt x="610011" y="17729"/>
                    </a:cubicBezTo>
                    <a:cubicBezTo>
                      <a:pt x="600857" y="12031"/>
                      <a:pt x="590941" y="6965"/>
                      <a:pt x="579499" y="4432"/>
                    </a:cubicBezTo>
                    <a:cubicBezTo>
                      <a:pt x="569582" y="1900"/>
                      <a:pt x="559666" y="0"/>
                      <a:pt x="548986" y="0"/>
                    </a:cubicBezTo>
                    <a:cubicBezTo>
                      <a:pt x="538307" y="0"/>
                      <a:pt x="527628" y="1266"/>
                      <a:pt x="518474" y="4432"/>
                    </a:cubicBezTo>
                    <a:cubicBezTo>
                      <a:pt x="507032" y="7598"/>
                      <a:pt x="497115" y="12031"/>
                      <a:pt x="487962" y="17729"/>
                    </a:cubicBezTo>
                    <a:cubicBezTo>
                      <a:pt x="484911" y="19629"/>
                      <a:pt x="483385" y="22162"/>
                      <a:pt x="482622" y="24694"/>
                    </a:cubicBezTo>
                    <a:lnTo>
                      <a:pt x="472706" y="62052"/>
                    </a:lnTo>
                    <a:lnTo>
                      <a:pt x="472706" y="62052"/>
                    </a:lnTo>
                    <a:lnTo>
                      <a:pt x="462789" y="24694"/>
                    </a:lnTo>
                    <a:cubicBezTo>
                      <a:pt x="462026" y="22162"/>
                      <a:pt x="460501" y="19629"/>
                      <a:pt x="457450" y="17729"/>
                    </a:cubicBezTo>
                    <a:cubicBezTo>
                      <a:pt x="448296" y="12031"/>
                      <a:pt x="438379" y="6965"/>
                      <a:pt x="426937" y="4432"/>
                    </a:cubicBezTo>
                    <a:cubicBezTo>
                      <a:pt x="417021" y="1900"/>
                      <a:pt x="407104" y="0"/>
                      <a:pt x="396425" y="0"/>
                    </a:cubicBezTo>
                    <a:cubicBezTo>
                      <a:pt x="385746" y="0"/>
                      <a:pt x="375066" y="1266"/>
                      <a:pt x="365913" y="4432"/>
                    </a:cubicBezTo>
                    <a:cubicBezTo>
                      <a:pt x="354471" y="7598"/>
                      <a:pt x="344554" y="12031"/>
                      <a:pt x="335401" y="17729"/>
                    </a:cubicBezTo>
                    <a:cubicBezTo>
                      <a:pt x="332349" y="19629"/>
                      <a:pt x="330824" y="22162"/>
                      <a:pt x="330061" y="24694"/>
                    </a:cubicBezTo>
                    <a:lnTo>
                      <a:pt x="320144" y="61419"/>
                    </a:lnTo>
                    <a:lnTo>
                      <a:pt x="320144" y="62052"/>
                    </a:lnTo>
                    <a:lnTo>
                      <a:pt x="310228" y="24694"/>
                    </a:lnTo>
                    <a:cubicBezTo>
                      <a:pt x="309465" y="22162"/>
                      <a:pt x="307939" y="19629"/>
                      <a:pt x="304888" y="17729"/>
                    </a:cubicBezTo>
                    <a:cubicBezTo>
                      <a:pt x="295735" y="12031"/>
                      <a:pt x="285818" y="6965"/>
                      <a:pt x="274376" y="4432"/>
                    </a:cubicBezTo>
                    <a:cubicBezTo>
                      <a:pt x="264460" y="1900"/>
                      <a:pt x="254543" y="0"/>
                      <a:pt x="243864" y="0"/>
                    </a:cubicBezTo>
                    <a:cubicBezTo>
                      <a:pt x="233184" y="0"/>
                      <a:pt x="222505" y="1266"/>
                      <a:pt x="213352" y="4432"/>
                    </a:cubicBezTo>
                    <a:cubicBezTo>
                      <a:pt x="201909" y="7598"/>
                      <a:pt x="191993" y="12031"/>
                      <a:pt x="182839" y="17729"/>
                    </a:cubicBezTo>
                    <a:cubicBezTo>
                      <a:pt x="179788" y="19629"/>
                      <a:pt x="178262" y="22162"/>
                      <a:pt x="177500" y="24694"/>
                    </a:cubicBezTo>
                    <a:lnTo>
                      <a:pt x="167583" y="61419"/>
                    </a:lnTo>
                    <a:lnTo>
                      <a:pt x="167583" y="61419"/>
                    </a:lnTo>
                    <a:lnTo>
                      <a:pt x="157667" y="24694"/>
                    </a:lnTo>
                    <a:cubicBezTo>
                      <a:pt x="156904" y="22162"/>
                      <a:pt x="155378" y="19629"/>
                      <a:pt x="152327" y="17729"/>
                    </a:cubicBezTo>
                    <a:cubicBezTo>
                      <a:pt x="143173" y="12031"/>
                      <a:pt x="133257" y="6965"/>
                      <a:pt x="121815" y="4432"/>
                    </a:cubicBezTo>
                    <a:cubicBezTo>
                      <a:pt x="111898" y="1900"/>
                      <a:pt x="101982" y="0"/>
                      <a:pt x="91302" y="0"/>
                    </a:cubicBezTo>
                    <a:cubicBezTo>
                      <a:pt x="80623" y="0"/>
                      <a:pt x="69944" y="1266"/>
                      <a:pt x="60790" y="4432"/>
                    </a:cubicBezTo>
                    <a:cubicBezTo>
                      <a:pt x="49348" y="7598"/>
                      <a:pt x="39432" y="12031"/>
                      <a:pt x="30278" y="17729"/>
                    </a:cubicBezTo>
                    <a:cubicBezTo>
                      <a:pt x="27227" y="19629"/>
                      <a:pt x="25701" y="22162"/>
                      <a:pt x="24938" y="24694"/>
                    </a:cubicBezTo>
                    <a:lnTo>
                      <a:pt x="529" y="116507"/>
                    </a:lnTo>
                    <a:cubicBezTo>
                      <a:pt x="-1760" y="123472"/>
                      <a:pt x="3580" y="131070"/>
                      <a:pt x="12733" y="132336"/>
                    </a:cubicBezTo>
                    <a:cubicBezTo>
                      <a:pt x="13496" y="132336"/>
                      <a:pt x="14259" y="132336"/>
                      <a:pt x="15022" y="132336"/>
                    </a:cubicBezTo>
                    <a:cubicBezTo>
                      <a:pt x="21887" y="132336"/>
                      <a:pt x="27990" y="128537"/>
                      <a:pt x="30278" y="122205"/>
                    </a:cubicBezTo>
                    <a:lnTo>
                      <a:pt x="53162" y="37991"/>
                    </a:lnTo>
                    <a:lnTo>
                      <a:pt x="53162" y="82948"/>
                    </a:lnTo>
                    <a:lnTo>
                      <a:pt x="30278" y="177293"/>
                    </a:lnTo>
                    <a:lnTo>
                      <a:pt x="53162" y="177293"/>
                    </a:lnTo>
                    <a:lnTo>
                      <a:pt x="53162" y="284935"/>
                    </a:lnTo>
                    <a:lnTo>
                      <a:pt x="83674" y="284935"/>
                    </a:lnTo>
                    <a:lnTo>
                      <a:pt x="83674" y="177293"/>
                    </a:lnTo>
                    <a:lnTo>
                      <a:pt x="98931" y="177293"/>
                    </a:lnTo>
                    <a:lnTo>
                      <a:pt x="98931" y="284935"/>
                    </a:lnTo>
                    <a:lnTo>
                      <a:pt x="129443" y="284935"/>
                    </a:lnTo>
                    <a:lnTo>
                      <a:pt x="129443" y="177293"/>
                    </a:lnTo>
                    <a:lnTo>
                      <a:pt x="152327" y="177293"/>
                    </a:lnTo>
                    <a:lnTo>
                      <a:pt x="129443" y="82948"/>
                    </a:lnTo>
                    <a:lnTo>
                      <a:pt x="129443" y="37991"/>
                    </a:lnTo>
                    <a:lnTo>
                      <a:pt x="152327" y="122839"/>
                    </a:lnTo>
                    <a:cubicBezTo>
                      <a:pt x="153853" y="128537"/>
                      <a:pt x="159955" y="132970"/>
                      <a:pt x="166820" y="132970"/>
                    </a:cubicBezTo>
                    <a:lnTo>
                      <a:pt x="166820" y="132970"/>
                    </a:lnTo>
                    <a:cubicBezTo>
                      <a:pt x="173686" y="132970"/>
                      <a:pt x="179788" y="129170"/>
                      <a:pt x="181314" y="122839"/>
                    </a:cubicBezTo>
                    <a:lnTo>
                      <a:pt x="205723" y="37991"/>
                    </a:lnTo>
                    <a:lnTo>
                      <a:pt x="205723" y="139301"/>
                    </a:lnTo>
                    <a:lnTo>
                      <a:pt x="205723" y="284935"/>
                    </a:lnTo>
                    <a:lnTo>
                      <a:pt x="236236" y="284935"/>
                    </a:lnTo>
                    <a:lnTo>
                      <a:pt x="236236" y="139301"/>
                    </a:lnTo>
                    <a:lnTo>
                      <a:pt x="251492" y="139301"/>
                    </a:lnTo>
                    <a:lnTo>
                      <a:pt x="251492" y="284935"/>
                    </a:lnTo>
                    <a:lnTo>
                      <a:pt x="282004" y="284935"/>
                    </a:lnTo>
                    <a:lnTo>
                      <a:pt x="282004" y="139301"/>
                    </a:lnTo>
                    <a:lnTo>
                      <a:pt x="282004" y="37991"/>
                    </a:lnTo>
                    <a:lnTo>
                      <a:pt x="304888" y="122839"/>
                    </a:lnTo>
                    <a:cubicBezTo>
                      <a:pt x="306414" y="128537"/>
                      <a:pt x="312516" y="132970"/>
                      <a:pt x="320144" y="132970"/>
                    </a:cubicBezTo>
                    <a:cubicBezTo>
                      <a:pt x="320144" y="132970"/>
                      <a:pt x="320144" y="132970"/>
                      <a:pt x="320144" y="132970"/>
                    </a:cubicBezTo>
                    <a:lnTo>
                      <a:pt x="320144" y="132970"/>
                    </a:lnTo>
                    <a:cubicBezTo>
                      <a:pt x="327010" y="132970"/>
                      <a:pt x="333112" y="129170"/>
                      <a:pt x="334638" y="122839"/>
                    </a:cubicBezTo>
                    <a:lnTo>
                      <a:pt x="358285" y="37991"/>
                    </a:lnTo>
                    <a:lnTo>
                      <a:pt x="358285" y="83581"/>
                    </a:lnTo>
                    <a:lnTo>
                      <a:pt x="335401" y="177293"/>
                    </a:lnTo>
                    <a:lnTo>
                      <a:pt x="358285" y="177293"/>
                    </a:lnTo>
                    <a:lnTo>
                      <a:pt x="358285" y="284935"/>
                    </a:lnTo>
                    <a:lnTo>
                      <a:pt x="388797" y="284935"/>
                    </a:lnTo>
                    <a:lnTo>
                      <a:pt x="388797" y="177293"/>
                    </a:lnTo>
                    <a:lnTo>
                      <a:pt x="404053" y="177293"/>
                    </a:lnTo>
                    <a:lnTo>
                      <a:pt x="404053" y="284935"/>
                    </a:lnTo>
                    <a:lnTo>
                      <a:pt x="434565" y="284935"/>
                    </a:lnTo>
                    <a:lnTo>
                      <a:pt x="434565" y="177293"/>
                    </a:lnTo>
                    <a:lnTo>
                      <a:pt x="457450" y="177293"/>
                    </a:lnTo>
                    <a:lnTo>
                      <a:pt x="434565" y="82315"/>
                    </a:lnTo>
                    <a:lnTo>
                      <a:pt x="434565" y="37991"/>
                    </a:lnTo>
                    <a:lnTo>
                      <a:pt x="457450" y="122839"/>
                    </a:lnTo>
                    <a:cubicBezTo>
                      <a:pt x="458975" y="128537"/>
                      <a:pt x="465078" y="132970"/>
                      <a:pt x="472706" y="132970"/>
                    </a:cubicBezTo>
                    <a:cubicBezTo>
                      <a:pt x="472706" y="132970"/>
                      <a:pt x="472706" y="132970"/>
                      <a:pt x="472706" y="132970"/>
                    </a:cubicBezTo>
                    <a:lnTo>
                      <a:pt x="472706" y="132970"/>
                    </a:lnTo>
                    <a:cubicBezTo>
                      <a:pt x="472706" y="132970"/>
                      <a:pt x="472706" y="132970"/>
                      <a:pt x="472706" y="132970"/>
                    </a:cubicBezTo>
                    <a:cubicBezTo>
                      <a:pt x="479571" y="132970"/>
                      <a:pt x="485673" y="129170"/>
                      <a:pt x="487962" y="122839"/>
                    </a:cubicBezTo>
                    <a:lnTo>
                      <a:pt x="510846" y="37991"/>
                    </a:lnTo>
                    <a:lnTo>
                      <a:pt x="510846" y="139301"/>
                    </a:lnTo>
                    <a:lnTo>
                      <a:pt x="510846" y="284935"/>
                    </a:lnTo>
                    <a:lnTo>
                      <a:pt x="541358" y="284935"/>
                    </a:lnTo>
                    <a:lnTo>
                      <a:pt x="541358" y="139301"/>
                    </a:lnTo>
                    <a:lnTo>
                      <a:pt x="556614" y="139301"/>
                    </a:lnTo>
                    <a:lnTo>
                      <a:pt x="556614" y="284935"/>
                    </a:lnTo>
                    <a:lnTo>
                      <a:pt x="587127" y="284935"/>
                    </a:lnTo>
                    <a:lnTo>
                      <a:pt x="587127" y="139301"/>
                    </a:lnTo>
                    <a:lnTo>
                      <a:pt x="587127" y="37991"/>
                    </a:lnTo>
                    <a:lnTo>
                      <a:pt x="610011" y="122839"/>
                    </a:lnTo>
                    <a:cubicBezTo>
                      <a:pt x="611536" y="128537"/>
                      <a:pt x="617639" y="132970"/>
                      <a:pt x="625267" y="132970"/>
                    </a:cubicBezTo>
                    <a:cubicBezTo>
                      <a:pt x="626792" y="132970"/>
                      <a:pt x="629081" y="132970"/>
                      <a:pt x="630607" y="132336"/>
                    </a:cubicBezTo>
                    <a:cubicBezTo>
                      <a:pt x="637472" y="129804"/>
                      <a:pt x="641286" y="123472"/>
                      <a:pt x="639760" y="117140"/>
                    </a:cubicBezTo>
                    <a:close/>
                  </a:path>
                </a:pathLst>
              </a:custGeom>
              <a:solidFill>
                <a:srgbClr val="FFC000"/>
              </a:solidFill>
              <a:ln w="7541" cap="flat">
                <a:noFill/>
                <a:prstDash val="solid"/>
                <a:miter/>
              </a:ln>
            </p:spPr>
            <p:txBody>
              <a:bodyPr rtlCol="0" anchor="ctr"/>
              <a:lstStyle/>
              <a:p>
                <a:endParaRPr lang="en-US" sz="2400"/>
              </a:p>
            </p:txBody>
          </p:sp>
        </p:grpSp>
        <p:sp>
          <p:nvSpPr>
            <p:cNvPr id="746" name="Graphic 214" descr="Paper">
              <a:extLst>
                <a:ext uri="{FF2B5EF4-FFF2-40B4-BE49-F238E27FC236}">
                  <a16:creationId xmlns:a16="http://schemas.microsoft.com/office/drawing/2014/main" id="{6E0198D7-AF39-41DD-A110-71546DD338DC}"/>
                </a:ext>
              </a:extLst>
            </p:cNvPr>
            <p:cNvSpPr/>
            <p:nvPr/>
          </p:nvSpPr>
          <p:spPr>
            <a:xfrm>
              <a:off x="1052058" y="2335135"/>
              <a:ext cx="202134" cy="216499"/>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endParaRPr lang="en-US" sz="2400"/>
            </a:p>
          </p:txBody>
        </p:sp>
        <p:grpSp>
          <p:nvGrpSpPr>
            <p:cNvPr id="747" name="Graphic 215" descr="Document">
              <a:extLst>
                <a:ext uri="{FF2B5EF4-FFF2-40B4-BE49-F238E27FC236}">
                  <a16:creationId xmlns:a16="http://schemas.microsoft.com/office/drawing/2014/main" id="{571DF5B7-C29F-4886-9E6F-F9C5098A207D}"/>
                </a:ext>
              </a:extLst>
            </p:cNvPr>
            <p:cNvGrpSpPr/>
            <p:nvPr/>
          </p:nvGrpSpPr>
          <p:grpSpPr>
            <a:xfrm>
              <a:off x="2171727" y="2020820"/>
              <a:ext cx="202134" cy="216499"/>
              <a:chOff x="6545039" y="2432200"/>
              <a:chExt cx="202134" cy="216499"/>
            </a:xfrm>
          </p:grpSpPr>
          <p:sp>
            <p:nvSpPr>
              <p:cNvPr id="748" name="Freeform: Shape 747">
                <a:extLst>
                  <a:ext uri="{FF2B5EF4-FFF2-40B4-BE49-F238E27FC236}">
                    <a16:creationId xmlns:a16="http://schemas.microsoft.com/office/drawing/2014/main" id="{4A889156-1AE3-4CE1-BD13-221B8AFEA434}"/>
                  </a:ext>
                </a:extLst>
              </p:cNvPr>
              <p:cNvSpPr/>
              <p:nvPr/>
            </p:nvSpPr>
            <p:spPr>
              <a:xfrm>
                <a:off x="6545039" y="2432200"/>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endParaRPr lang="en-US" sz="2400"/>
              </a:p>
            </p:txBody>
          </p:sp>
          <p:sp>
            <p:nvSpPr>
              <p:cNvPr id="749" name="Freeform: Shape 748">
                <a:extLst>
                  <a:ext uri="{FF2B5EF4-FFF2-40B4-BE49-F238E27FC236}">
                    <a16:creationId xmlns:a16="http://schemas.microsoft.com/office/drawing/2014/main" id="{DF0F1D57-6076-458F-829E-A93F21AA74B1}"/>
                  </a:ext>
                </a:extLst>
              </p:cNvPr>
              <p:cNvSpPr/>
              <p:nvPr/>
            </p:nvSpPr>
            <p:spPr>
              <a:xfrm>
                <a:off x="6584161" y="253233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50" name="Freeform: Shape 749">
                <a:extLst>
                  <a:ext uri="{FF2B5EF4-FFF2-40B4-BE49-F238E27FC236}">
                    <a16:creationId xmlns:a16="http://schemas.microsoft.com/office/drawing/2014/main" id="{42A5C221-E3FE-4508-9D06-B65B5F6662DA}"/>
                  </a:ext>
                </a:extLst>
              </p:cNvPr>
              <p:cNvSpPr/>
              <p:nvPr/>
            </p:nvSpPr>
            <p:spPr>
              <a:xfrm>
                <a:off x="6584161" y="2510681"/>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51" name="Freeform: Shape 750">
                <a:extLst>
                  <a:ext uri="{FF2B5EF4-FFF2-40B4-BE49-F238E27FC236}">
                    <a16:creationId xmlns:a16="http://schemas.microsoft.com/office/drawing/2014/main" id="{F1E44839-0E95-499E-9239-D9FB729FFB85}"/>
                  </a:ext>
                </a:extLst>
              </p:cNvPr>
              <p:cNvSpPr/>
              <p:nvPr/>
            </p:nvSpPr>
            <p:spPr>
              <a:xfrm>
                <a:off x="6584161" y="255398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52" name="Freeform: Shape 751">
                <a:extLst>
                  <a:ext uri="{FF2B5EF4-FFF2-40B4-BE49-F238E27FC236}">
                    <a16:creationId xmlns:a16="http://schemas.microsoft.com/office/drawing/2014/main" id="{580DD22D-B029-4E41-A8F4-C267096408E2}"/>
                  </a:ext>
                </a:extLst>
              </p:cNvPr>
              <p:cNvSpPr/>
              <p:nvPr/>
            </p:nvSpPr>
            <p:spPr>
              <a:xfrm>
                <a:off x="6584161" y="257563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53" name="Freeform: Shape 752">
                <a:extLst>
                  <a:ext uri="{FF2B5EF4-FFF2-40B4-BE49-F238E27FC236}">
                    <a16:creationId xmlns:a16="http://schemas.microsoft.com/office/drawing/2014/main" id="{0E5CF501-1D18-4FDC-9798-1645C75ABFB9}"/>
                  </a:ext>
                </a:extLst>
              </p:cNvPr>
              <p:cNvSpPr/>
              <p:nvPr/>
            </p:nvSpPr>
            <p:spPr>
              <a:xfrm>
                <a:off x="6584161" y="2597281"/>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grpSp>
        <p:grpSp>
          <p:nvGrpSpPr>
            <p:cNvPr id="760" name="Graphic 217" descr="Statistics">
              <a:extLst>
                <a:ext uri="{FF2B5EF4-FFF2-40B4-BE49-F238E27FC236}">
                  <a16:creationId xmlns:a16="http://schemas.microsoft.com/office/drawing/2014/main" id="{EADA8E1C-6E57-4B2F-B00C-5F5B3D9C70A7}"/>
                </a:ext>
              </a:extLst>
            </p:cNvPr>
            <p:cNvGrpSpPr/>
            <p:nvPr/>
          </p:nvGrpSpPr>
          <p:grpSpPr>
            <a:xfrm>
              <a:off x="1392647" y="2599647"/>
              <a:ext cx="224955" cy="189453"/>
              <a:chOff x="5863694" y="2917641"/>
              <a:chExt cx="224955" cy="189453"/>
            </a:xfrm>
          </p:grpSpPr>
          <p:sp>
            <p:nvSpPr>
              <p:cNvPr id="761" name="Freeform: Shape 760">
                <a:extLst>
                  <a:ext uri="{FF2B5EF4-FFF2-40B4-BE49-F238E27FC236}">
                    <a16:creationId xmlns:a16="http://schemas.microsoft.com/office/drawing/2014/main" id="{D89835B7-5353-49E8-9F53-409A154773DF}"/>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endParaRPr lang="en-US" sz="2400"/>
              </a:p>
            </p:txBody>
          </p:sp>
          <p:sp>
            <p:nvSpPr>
              <p:cNvPr id="762" name="Freeform: Shape 761">
                <a:extLst>
                  <a:ext uri="{FF2B5EF4-FFF2-40B4-BE49-F238E27FC236}">
                    <a16:creationId xmlns:a16="http://schemas.microsoft.com/office/drawing/2014/main" id="{19D96085-4BB0-41BF-8779-919A0A1E898B}"/>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endParaRPr lang="en-US" sz="2400"/>
              </a:p>
            </p:txBody>
          </p:sp>
        </p:grpSp>
        <p:sp>
          <p:nvSpPr>
            <p:cNvPr id="767" name="Graphic 219" descr="Paper">
              <a:extLst>
                <a:ext uri="{FF2B5EF4-FFF2-40B4-BE49-F238E27FC236}">
                  <a16:creationId xmlns:a16="http://schemas.microsoft.com/office/drawing/2014/main" id="{09CDD1EA-9DF6-48FD-9BF9-FD548B42CAB2}"/>
                </a:ext>
              </a:extLst>
            </p:cNvPr>
            <p:cNvSpPr/>
            <p:nvPr/>
          </p:nvSpPr>
          <p:spPr>
            <a:xfrm>
              <a:off x="3472910" y="1966878"/>
              <a:ext cx="202134" cy="216499"/>
            </a:xfrm>
            <a:custGeom>
              <a:avLst/>
              <a:gdLst>
                <a:gd name="connsiteX0" fmla="*/ 19561 w 202133"/>
                <a:gd name="connsiteY0" fmla="*/ 200262 h 216499"/>
                <a:gd name="connsiteX1" fmla="*/ 19561 w 202133"/>
                <a:gd name="connsiteY1" fmla="*/ 16237 h 216499"/>
                <a:gd name="connsiteX2" fmla="*/ 110847 w 202133"/>
                <a:gd name="connsiteY2" fmla="*/ 16237 h 216499"/>
                <a:gd name="connsiteX3" fmla="*/ 11084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30409 w 202133"/>
                <a:gd name="connsiteY7" fmla="*/ 23003 h 216499"/>
                <a:gd name="connsiteX8" fmla="*/ 171161 w 202133"/>
                <a:gd name="connsiteY8" fmla="*/ 56831 h 216499"/>
                <a:gd name="connsiteX9" fmla="*/ 130409 w 202133"/>
                <a:gd name="connsiteY9" fmla="*/ 56831 h 216499"/>
                <a:gd name="connsiteX10" fmla="*/ 130409 w 202133"/>
                <a:gd name="connsiteY10" fmla="*/ 23003 h 216499"/>
                <a:gd name="connsiteX11" fmla="*/ 130409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30409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10847" y="16237"/>
                  </a:lnTo>
                  <a:lnTo>
                    <a:pt x="110847" y="73068"/>
                  </a:lnTo>
                  <a:lnTo>
                    <a:pt x="182572" y="73068"/>
                  </a:lnTo>
                  <a:lnTo>
                    <a:pt x="182572" y="200262"/>
                  </a:lnTo>
                  <a:lnTo>
                    <a:pt x="19561" y="200262"/>
                  </a:lnTo>
                  <a:close/>
                  <a:moveTo>
                    <a:pt x="130409" y="23003"/>
                  </a:moveTo>
                  <a:lnTo>
                    <a:pt x="171161" y="56831"/>
                  </a:lnTo>
                  <a:lnTo>
                    <a:pt x="130409" y="56831"/>
                  </a:lnTo>
                  <a:lnTo>
                    <a:pt x="130409" y="23003"/>
                  </a:lnTo>
                  <a:close/>
                  <a:moveTo>
                    <a:pt x="130409" y="0"/>
                  </a:moveTo>
                  <a:lnTo>
                    <a:pt x="0" y="0"/>
                  </a:lnTo>
                  <a:lnTo>
                    <a:pt x="0" y="216499"/>
                  </a:lnTo>
                  <a:lnTo>
                    <a:pt x="202134" y="216499"/>
                  </a:lnTo>
                  <a:lnTo>
                    <a:pt x="202134" y="59537"/>
                  </a:lnTo>
                  <a:lnTo>
                    <a:pt x="130409" y="0"/>
                  </a:lnTo>
                  <a:close/>
                </a:path>
              </a:pathLst>
            </a:custGeom>
            <a:solidFill>
              <a:schemeClr val="accent3"/>
            </a:solidFill>
            <a:ln w="3175" cap="flat">
              <a:noFill/>
              <a:prstDash val="solid"/>
              <a:miter/>
            </a:ln>
          </p:spPr>
          <p:txBody>
            <a:bodyPr rtlCol="0" anchor="ctr"/>
            <a:lstStyle/>
            <a:p>
              <a:endParaRPr lang="en-US" sz="2400"/>
            </a:p>
          </p:txBody>
        </p:sp>
        <p:grpSp>
          <p:nvGrpSpPr>
            <p:cNvPr id="768" name="Graphic 221" descr="Statistics">
              <a:extLst>
                <a:ext uri="{FF2B5EF4-FFF2-40B4-BE49-F238E27FC236}">
                  <a16:creationId xmlns:a16="http://schemas.microsoft.com/office/drawing/2014/main" id="{2C688528-C33E-4F19-A433-1E8D0F19B130}"/>
                </a:ext>
              </a:extLst>
            </p:cNvPr>
            <p:cNvGrpSpPr/>
            <p:nvPr/>
          </p:nvGrpSpPr>
          <p:grpSpPr>
            <a:xfrm>
              <a:off x="3620831" y="2665085"/>
              <a:ext cx="224955" cy="189453"/>
              <a:chOff x="7485079" y="2824981"/>
              <a:chExt cx="224955" cy="189453"/>
            </a:xfrm>
          </p:grpSpPr>
          <p:sp>
            <p:nvSpPr>
              <p:cNvPr id="769" name="Freeform: Shape 768">
                <a:extLst>
                  <a:ext uri="{FF2B5EF4-FFF2-40B4-BE49-F238E27FC236}">
                    <a16:creationId xmlns:a16="http://schemas.microsoft.com/office/drawing/2014/main" id="{2E25AB2B-8F0B-40E9-BE4C-D19BB74AFB1D}"/>
                  </a:ext>
                </a:extLst>
              </p:cNvPr>
              <p:cNvSpPr/>
              <p:nvPr/>
            </p:nvSpPr>
            <p:spPr>
              <a:xfrm>
                <a:off x="7520887" y="282498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endParaRPr lang="en-US" sz="2400"/>
              </a:p>
            </p:txBody>
          </p:sp>
          <p:sp>
            <p:nvSpPr>
              <p:cNvPr id="770" name="Freeform: Shape 769">
                <a:extLst>
                  <a:ext uri="{FF2B5EF4-FFF2-40B4-BE49-F238E27FC236}">
                    <a16:creationId xmlns:a16="http://schemas.microsoft.com/office/drawing/2014/main" id="{926D0090-10E6-4703-BFA4-64A9F9D3B1EF}"/>
                  </a:ext>
                </a:extLst>
              </p:cNvPr>
              <p:cNvSpPr/>
              <p:nvPr/>
            </p:nvSpPr>
            <p:spPr>
              <a:xfrm>
                <a:off x="7485079" y="282499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endParaRPr lang="en-US" sz="2400"/>
              </a:p>
            </p:txBody>
          </p:sp>
        </p:grpSp>
        <p:grpSp>
          <p:nvGrpSpPr>
            <p:cNvPr id="783" name="Graphic 220" descr="Document">
              <a:extLst>
                <a:ext uri="{FF2B5EF4-FFF2-40B4-BE49-F238E27FC236}">
                  <a16:creationId xmlns:a16="http://schemas.microsoft.com/office/drawing/2014/main" id="{4D67A334-BF92-4DBB-ABB3-252E7202762C}"/>
                </a:ext>
              </a:extLst>
            </p:cNvPr>
            <p:cNvGrpSpPr/>
            <p:nvPr/>
          </p:nvGrpSpPr>
          <p:grpSpPr>
            <a:xfrm>
              <a:off x="2751271" y="2017307"/>
              <a:ext cx="202134" cy="216499"/>
              <a:chOff x="7129418" y="2451503"/>
              <a:chExt cx="202134" cy="216499"/>
            </a:xfrm>
          </p:grpSpPr>
          <p:sp>
            <p:nvSpPr>
              <p:cNvPr id="784" name="Freeform: Shape 783">
                <a:extLst>
                  <a:ext uri="{FF2B5EF4-FFF2-40B4-BE49-F238E27FC236}">
                    <a16:creationId xmlns:a16="http://schemas.microsoft.com/office/drawing/2014/main" id="{0C4FC903-CF03-47D3-9F37-5AE2CE499013}"/>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endParaRPr lang="en-US" sz="2400"/>
              </a:p>
            </p:txBody>
          </p:sp>
          <p:sp>
            <p:nvSpPr>
              <p:cNvPr id="785" name="Freeform: Shape 784">
                <a:extLst>
                  <a:ext uri="{FF2B5EF4-FFF2-40B4-BE49-F238E27FC236}">
                    <a16:creationId xmlns:a16="http://schemas.microsoft.com/office/drawing/2014/main" id="{577AAAC1-351C-4916-8986-F1855D7C7EEC}"/>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87" name="Freeform: Shape 786">
                <a:extLst>
                  <a:ext uri="{FF2B5EF4-FFF2-40B4-BE49-F238E27FC236}">
                    <a16:creationId xmlns:a16="http://schemas.microsoft.com/office/drawing/2014/main" id="{4AEEDEFA-B6FC-4488-A897-63679E9D4D7D}"/>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88" name="Freeform: Shape 787">
                <a:extLst>
                  <a:ext uri="{FF2B5EF4-FFF2-40B4-BE49-F238E27FC236}">
                    <a16:creationId xmlns:a16="http://schemas.microsoft.com/office/drawing/2014/main" id="{4DF8A7E6-743E-4DC3-B002-8C735FC8258B}"/>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789" name="Freeform: Shape 788">
                <a:extLst>
                  <a:ext uri="{FF2B5EF4-FFF2-40B4-BE49-F238E27FC236}">
                    <a16:creationId xmlns:a16="http://schemas.microsoft.com/office/drawing/2014/main" id="{232DD6AA-1722-499A-B471-62FEF95D43F0}"/>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grpSp>
        <p:grpSp>
          <p:nvGrpSpPr>
            <p:cNvPr id="790" name="Graphic 237" descr="Document">
              <a:extLst>
                <a:ext uri="{FF2B5EF4-FFF2-40B4-BE49-F238E27FC236}">
                  <a16:creationId xmlns:a16="http://schemas.microsoft.com/office/drawing/2014/main" id="{BD55FEE4-18C1-4888-82CA-E903BB3E3E89}"/>
                </a:ext>
              </a:extLst>
            </p:cNvPr>
            <p:cNvGrpSpPr/>
            <p:nvPr/>
          </p:nvGrpSpPr>
          <p:grpSpPr>
            <a:xfrm>
              <a:off x="3962767" y="2112163"/>
              <a:ext cx="183250" cy="210641"/>
              <a:chOff x="8066103" y="2761492"/>
              <a:chExt cx="183250" cy="210641"/>
            </a:xfrm>
          </p:grpSpPr>
          <p:sp>
            <p:nvSpPr>
              <p:cNvPr id="791" name="Freeform: Shape 790">
                <a:extLst>
                  <a:ext uri="{FF2B5EF4-FFF2-40B4-BE49-F238E27FC236}">
                    <a16:creationId xmlns:a16="http://schemas.microsoft.com/office/drawing/2014/main" id="{797E17A9-4D03-4DA0-929A-748939D8D851}"/>
                  </a:ext>
                </a:extLst>
              </p:cNvPr>
              <p:cNvSpPr/>
              <p:nvPr/>
            </p:nvSpPr>
            <p:spPr>
              <a:xfrm>
                <a:off x="8066103" y="2761492"/>
                <a:ext cx="183250" cy="210641"/>
              </a:xfrm>
              <a:custGeom>
                <a:avLst/>
                <a:gdLst>
                  <a:gd name="connsiteX0" fmla="*/ 17734 w 183250"/>
                  <a:gd name="connsiteY0" fmla="*/ 194843 h 210640"/>
                  <a:gd name="connsiteX1" fmla="*/ 17734 w 183250"/>
                  <a:gd name="connsiteY1" fmla="*/ 15798 h 210640"/>
                  <a:gd name="connsiteX2" fmla="*/ 91625 w 183250"/>
                  <a:gd name="connsiteY2" fmla="*/ 15798 h 210640"/>
                  <a:gd name="connsiteX3" fmla="*/ 91625 w 183250"/>
                  <a:gd name="connsiteY3" fmla="*/ 71091 h 210640"/>
                  <a:gd name="connsiteX4" fmla="*/ 165516 w 183250"/>
                  <a:gd name="connsiteY4" fmla="*/ 71091 h 210640"/>
                  <a:gd name="connsiteX5" fmla="*/ 165516 w 183250"/>
                  <a:gd name="connsiteY5" fmla="*/ 194843 h 210640"/>
                  <a:gd name="connsiteX6" fmla="*/ 17734 w 183250"/>
                  <a:gd name="connsiteY6" fmla="*/ 194843 h 210640"/>
                  <a:gd name="connsiteX7" fmla="*/ 109359 w 183250"/>
                  <a:gd name="connsiteY7" fmla="*/ 22381 h 210640"/>
                  <a:gd name="connsiteX8" fmla="*/ 146304 w 183250"/>
                  <a:gd name="connsiteY8" fmla="*/ 55293 h 210640"/>
                  <a:gd name="connsiteX9" fmla="*/ 109359 w 183250"/>
                  <a:gd name="connsiteY9" fmla="*/ 55293 h 210640"/>
                  <a:gd name="connsiteX10" fmla="*/ 109359 w 183250"/>
                  <a:gd name="connsiteY10" fmla="*/ 22381 h 210640"/>
                  <a:gd name="connsiteX11" fmla="*/ 109359 w 183250"/>
                  <a:gd name="connsiteY11" fmla="*/ 0 h 210640"/>
                  <a:gd name="connsiteX12" fmla="*/ 0 w 183250"/>
                  <a:gd name="connsiteY12" fmla="*/ 0 h 210640"/>
                  <a:gd name="connsiteX13" fmla="*/ 0 w 183250"/>
                  <a:gd name="connsiteY13" fmla="*/ 210641 h 210640"/>
                  <a:gd name="connsiteX14" fmla="*/ 183250 w 183250"/>
                  <a:gd name="connsiteY14" fmla="*/ 210641 h 210640"/>
                  <a:gd name="connsiteX15" fmla="*/ 183250 w 183250"/>
                  <a:gd name="connsiteY15" fmla="*/ 57926 h 210640"/>
                  <a:gd name="connsiteX16" fmla="*/ 109359 w 183250"/>
                  <a:gd name="connsiteY16" fmla="*/ 0 h 21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50" h="210640">
                    <a:moveTo>
                      <a:pt x="17734" y="194843"/>
                    </a:moveTo>
                    <a:lnTo>
                      <a:pt x="17734" y="15798"/>
                    </a:lnTo>
                    <a:lnTo>
                      <a:pt x="91625" y="15798"/>
                    </a:lnTo>
                    <a:lnTo>
                      <a:pt x="91625" y="71091"/>
                    </a:lnTo>
                    <a:lnTo>
                      <a:pt x="165516" y="71091"/>
                    </a:lnTo>
                    <a:lnTo>
                      <a:pt x="165516" y="194843"/>
                    </a:lnTo>
                    <a:lnTo>
                      <a:pt x="17734" y="194843"/>
                    </a:lnTo>
                    <a:close/>
                    <a:moveTo>
                      <a:pt x="109359" y="22381"/>
                    </a:moveTo>
                    <a:lnTo>
                      <a:pt x="146304" y="55293"/>
                    </a:lnTo>
                    <a:lnTo>
                      <a:pt x="109359" y="55293"/>
                    </a:lnTo>
                    <a:lnTo>
                      <a:pt x="109359" y="22381"/>
                    </a:lnTo>
                    <a:close/>
                    <a:moveTo>
                      <a:pt x="109359" y="0"/>
                    </a:moveTo>
                    <a:lnTo>
                      <a:pt x="0" y="0"/>
                    </a:lnTo>
                    <a:lnTo>
                      <a:pt x="0" y="210641"/>
                    </a:lnTo>
                    <a:lnTo>
                      <a:pt x="183250" y="210641"/>
                    </a:lnTo>
                    <a:lnTo>
                      <a:pt x="183250" y="57926"/>
                    </a:lnTo>
                    <a:lnTo>
                      <a:pt x="109359" y="0"/>
                    </a:lnTo>
                    <a:close/>
                  </a:path>
                </a:pathLst>
              </a:custGeom>
              <a:solidFill>
                <a:schemeClr val="accent3"/>
              </a:solidFill>
              <a:ln w="2877" cap="flat">
                <a:noFill/>
                <a:prstDash val="solid"/>
                <a:miter/>
              </a:ln>
            </p:spPr>
            <p:txBody>
              <a:bodyPr rtlCol="0" anchor="ctr"/>
              <a:lstStyle/>
              <a:p>
                <a:endParaRPr lang="en-US" sz="2400"/>
              </a:p>
            </p:txBody>
          </p:sp>
          <p:sp>
            <p:nvSpPr>
              <p:cNvPr id="792" name="Freeform: Shape 791">
                <a:extLst>
                  <a:ext uri="{FF2B5EF4-FFF2-40B4-BE49-F238E27FC236}">
                    <a16:creationId xmlns:a16="http://schemas.microsoft.com/office/drawing/2014/main" id="{5FDC3005-9DC7-4DA1-B2C5-C8196BA3AD91}"/>
                  </a:ext>
                </a:extLst>
              </p:cNvPr>
              <p:cNvSpPr/>
              <p:nvPr/>
            </p:nvSpPr>
            <p:spPr>
              <a:xfrm>
                <a:off x="8101571" y="2858913"/>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793" name="Freeform: Shape 792">
                <a:extLst>
                  <a:ext uri="{FF2B5EF4-FFF2-40B4-BE49-F238E27FC236}">
                    <a16:creationId xmlns:a16="http://schemas.microsoft.com/office/drawing/2014/main" id="{A50F50BC-10BC-4234-AEE4-8FBCF7AFDC37}"/>
                  </a:ext>
                </a:extLst>
              </p:cNvPr>
              <p:cNvSpPr/>
              <p:nvPr/>
            </p:nvSpPr>
            <p:spPr>
              <a:xfrm>
                <a:off x="8101571" y="2837849"/>
                <a:ext cx="38423" cy="10532"/>
              </a:xfrm>
              <a:custGeom>
                <a:avLst/>
                <a:gdLst>
                  <a:gd name="connsiteX0" fmla="*/ 0 w 38423"/>
                  <a:gd name="connsiteY0" fmla="*/ 0 h 10532"/>
                  <a:gd name="connsiteX1" fmla="*/ 38423 w 38423"/>
                  <a:gd name="connsiteY1" fmla="*/ 0 h 10532"/>
                  <a:gd name="connsiteX2" fmla="*/ 38423 w 38423"/>
                  <a:gd name="connsiteY2" fmla="*/ 10532 h 10532"/>
                  <a:gd name="connsiteX3" fmla="*/ 0 w 38423"/>
                  <a:gd name="connsiteY3" fmla="*/ 10532 h 10532"/>
                </a:gdLst>
                <a:ahLst/>
                <a:cxnLst>
                  <a:cxn ang="0">
                    <a:pos x="connsiteX0" y="connsiteY0"/>
                  </a:cxn>
                  <a:cxn ang="0">
                    <a:pos x="connsiteX1" y="connsiteY1"/>
                  </a:cxn>
                  <a:cxn ang="0">
                    <a:pos x="connsiteX2" y="connsiteY2"/>
                  </a:cxn>
                  <a:cxn ang="0">
                    <a:pos x="connsiteX3" y="connsiteY3"/>
                  </a:cxn>
                </a:cxnLst>
                <a:rect l="l" t="t" r="r" b="b"/>
                <a:pathLst>
                  <a:path w="38423" h="10532">
                    <a:moveTo>
                      <a:pt x="0" y="0"/>
                    </a:moveTo>
                    <a:lnTo>
                      <a:pt x="38423" y="0"/>
                    </a:lnTo>
                    <a:lnTo>
                      <a:pt x="38423"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794" name="Freeform: Shape 793">
                <a:extLst>
                  <a:ext uri="{FF2B5EF4-FFF2-40B4-BE49-F238E27FC236}">
                    <a16:creationId xmlns:a16="http://schemas.microsoft.com/office/drawing/2014/main" id="{D887A708-3D09-43E8-9B1F-9B014DBEC00F}"/>
                  </a:ext>
                </a:extLst>
              </p:cNvPr>
              <p:cNvSpPr/>
              <p:nvPr/>
            </p:nvSpPr>
            <p:spPr>
              <a:xfrm>
                <a:off x="8101571" y="2879978"/>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795" name="Freeform: Shape 794">
                <a:extLst>
                  <a:ext uri="{FF2B5EF4-FFF2-40B4-BE49-F238E27FC236}">
                    <a16:creationId xmlns:a16="http://schemas.microsoft.com/office/drawing/2014/main" id="{ABDFC0A3-33F1-46E6-A786-6F49E58619C5}"/>
                  </a:ext>
                </a:extLst>
              </p:cNvPr>
              <p:cNvSpPr/>
              <p:nvPr/>
            </p:nvSpPr>
            <p:spPr>
              <a:xfrm>
                <a:off x="8101571" y="2901042"/>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796" name="Freeform: Shape 795">
                <a:extLst>
                  <a:ext uri="{FF2B5EF4-FFF2-40B4-BE49-F238E27FC236}">
                    <a16:creationId xmlns:a16="http://schemas.microsoft.com/office/drawing/2014/main" id="{2BC5486C-4C68-4118-A442-0AFF05E4B194}"/>
                  </a:ext>
                </a:extLst>
              </p:cNvPr>
              <p:cNvSpPr/>
              <p:nvPr/>
            </p:nvSpPr>
            <p:spPr>
              <a:xfrm>
                <a:off x="8101571" y="2922106"/>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grpSp>
        <p:grpSp>
          <p:nvGrpSpPr>
            <p:cNvPr id="830" name="Graphic 220" descr="Document">
              <a:extLst>
                <a:ext uri="{FF2B5EF4-FFF2-40B4-BE49-F238E27FC236}">
                  <a16:creationId xmlns:a16="http://schemas.microsoft.com/office/drawing/2014/main" id="{9B41B52C-3E39-44E2-84DF-E507712488D2}"/>
                </a:ext>
              </a:extLst>
            </p:cNvPr>
            <p:cNvGrpSpPr/>
            <p:nvPr/>
          </p:nvGrpSpPr>
          <p:grpSpPr>
            <a:xfrm>
              <a:off x="786318" y="2039763"/>
              <a:ext cx="202134" cy="216499"/>
              <a:chOff x="7129418" y="2451503"/>
              <a:chExt cx="202134" cy="216499"/>
            </a:xfrm>
          </p:grpSpPr>
          <p:sp>
            <p:nvSpPr>
              <p:cNvPr id="831" name="Freeform: Shape 830">
                <a:extLst>
                  <a:ext uri="{FF2B5EF4-FFF2-40B4-BE49-F238E27FC236}">
                    <a16:creationId xmlns:a16="http://schemas.microsoft.com/office/drawing/2014/main" id="{C8031157-AC33-4038-B3B0-3FFD52037AF9}"/>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endParaRPr lang="en-US" sz="2400"/>
              </a:p>
            </p:txBody>
          </p:sp>
          <p:sp>
            <p:nvSpPr>
              <p:cNvPr id="832" name="Freeform: Shape 831">
                <a:extLst>
                  <a:ext uri="{FF2B5EF4-FFF2-40B4-BE49-F238E27FC236}">
                    <a16:creationId xmlns:a16="http://schemas.microsoft.com/office/drawing/2014/main" id="{F1F294A9-1E98-4A77-B0C8-6066C7EAD18B}"/>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33" name="Freeform: Shape 832">
                <a:extLst>
                  <a:ext uri="{FF2B5EF4-FFF2-40B4-BE49-F238E27FC236}">
                    <a16:creationId xmlns:a16="http://schemas.microsoft.com/office/drawing/2014/main" id="{5A5CED8D-786C-48E3-A3AB-365785F3C261}"/>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34" name="Freeform: Shape 833">
                <a:extLst>
                  <a:ext uri="{FF2B5EF4-FFF2-40B4-BE49-F238E27FC236}">
                    <a16:creationId xmlns:a16="http://schemas.microsoft.com/office/drawing/2014/main" id="{60B2DF4A-FC66-479F-98AF-B5C10418E9EF}"/>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35" name="Freeform: Shape 834">
                <a:extLst>
                  <a:ext uri="{FF2B5EF4-FFF2-40B4-BE49-F238E27FC236}">
                    <a16:creationId xmlns:a16="http://schemas.microsoft.com/office/drawing/2014/main" id="{FB895866-9F09-4EEF-B026-E7F847A9BDE5}"/>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36" name="Freeform: Shape 835">
                <a:extLst>
                  <a:ext uri="{FF2B5EF4-FFF2-40B4-BE49-F238E27FC236}">
                    <a16:creationId xmlns:a16="http://schemas.microsoft.com/office/drawing/2014/main" id="{E371E10F-8905-496B-94FD-0B107933CF1F}"/>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grpSp>
        <p:cxnSp>
          <p:nvCxnSpPr>
            <p:cNvPr id="839" name="Straight Connector 838">
              <a:extLst>
                <a:ext uri="{FF2B5EF4-FFF2-40B4-BE49-F238E27FC236}">
                  <a16:creationId xmlns:a16="http://schemas.microsoft.com/office/drawing/2014/main" id="{76E28CEE-25F1-4C2D-B7D4-9041B67D1157}"/>
                </a:ext>
              </a:extLst>
            </p:cNvPr>
            <p:cNvCxnSpPr>
              <a:cxnSpLocks/>
              <a:stCxn id="836" idx="0"/>
            </p:cNvCxnSpPr>
            <p:nvPr/>
          </p:nvCxnSpPr>
          <p:spPr bwMode="auto">
            <a:xfrm flipH="1">
              <a:off x="768090" y="2204844"/>
              <a:ext cx="57350" cy="425060"/>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4" name="Straight Connector 843">
              <a:extLst>
                <a:ext uri="{FF2B5EF4-FFF2-40B4-BE49-F238E27FC236}">
                  <a16:creationId xmlns:a16="http://schemas.microsoft.com/office/drawing/2014/main" id="{26186E8D-D511-4286-924F-7FACC1109D76}"/>
                </a:ext>
              </a:extLst>
            </p:cNvPr>
            <p:cNvCxnSpPr>
              <a:cxnSpLocks/>
              <a:endCxn id="746" idx="2"/>
            </p:cNvCxnSpPr>
            <p:nvPr/>
          </p:nvCxnSpPr>
          <p:spPr bwMode="auto">
            <a:xfrm>
              <a:off x="1063837" y="1671090"/>
              <a:ext cx="99069" cy="680282"/>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53" name="Straight Connector 852">
              <a:extLst>
                <a:ext uri="{FF2B5EF4-FFF2-40B4-BE49-F238E27FC236}">
                  <a16:creationId xmlns:a16="http://schemas.microsoft.com/office/drawing/2014/main" id="{3DFD3D98-2759-4769-A88A-02B91327A379}"/>
                </a:ext>
              </a:extLst>
            </p:cNvPr>
            <p:cNvCxnSpPr>
              <a:cxnSpLocks/>
              <a:stCxn id="716" idx="3"/>
              <a:endCxn id="791" idx="11"/>
            </p:cNvCxnSpPr>
            <p:nvPr/>
          </p:nvCxnSpPr>
          <p:spPr bwMode="auto">
            <a:xfrm>
              <a:off x="3971113" y="1675885"/>
              <a:ext cx="101013" cy="43627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58" name="Graphic 237" descr="Document">
              <a:extLst>
                <a:ext uri="{FF2B5EF4-FFF2-40B4-BE49-F238E27FC236}">
                  <a16:creationId xmlns:a16="http://schemas.microsoft.com/office/drawing/2014/main" id="{6FC8236A-CF4A-4052-ADFC-FC6B6075B2B3}"/>
                </a:ext>
              </a:extLst>
            </p:cNvPr>
            <p:cNvGrpSpPr/>
            <p:nvPr/>
          </p:nvGrpSpPr>
          <p:grpSpPr>
            <a:xfrm>
              <a:off x="3104493" y="2020237"/>
              <a:ext cx="183250" cy="210641"/>
              <a:chOff x="8066103" y="2761492"/>
              <a:chExt cx="183250" cy="210641"/>
            </a:xfrm>
          </p:grpSpPr>
          <p:sp>
            <p:nvSpPr>
              <p:cNvPr id="859" name="Freeform: Shape 858">
                <a:extLst>
                  <a:ext uri="{FF2B5EF4-FFF2-40B4-BE49-F238E27FC236}">
                    <a16:creationId xmlns:a16="http://schemas.microsoft.com/office/drawing/2014/main" id="{CEC7992D-D5D6-4FC2-8663-4613559B4085}"/>
                  </a:ext>
                </a:extLst>
              </p:cNvPr>
              <p:cNvSpPr/>
              <p:nvPr/>
            </p:nvSpPr>
            <p:spPr>
              <a:xfrm>
                <a:off x="8066103" y="2761492"/>
                <a:ext cx="183250" cy="210641"/>
              </a:xfrm>
              <a:custGeom>
                <a:avLst/>
                <a:gdLst>
                  <a:gd name="connsiteX0" fmla="*/ 17734 w 183250"/>
                  <a:gd name="connsiteY0" fmla="*/ 194843 h 210640"/>
                  <a:gd name="connsiteX1" fmla="*/ 17734 w 183250"/>
                  <a:gd name="connsiteY1" fmla="*/ 15798 h 210640"/>
                  <a:gd name="connsiteX2" fmla="*/ 91625 w 183250"/>
                  <a:gd name="connsiteY2" fmla="*/ 15798 h 210640"/>
                  <a:gd name="connsiteX3" fmla="*/ 91625 w 183250"/>
                  <a:gd name="connsiteY3" fmla="*/ 71091 h 210640"/>
                  <a:gd name="connsiteX4" fmla="*/ 165516 w 183250"/>
                  <a:gd name="connsiteY4" fmla="*/ 71091 h 210640"/>
                  <a:gd name="connsiteX5" fmla="*/ 165516 w 183250"/>
                  <a:gd name="connsiteY5" fmla="*/ 194843 h 210640"/>
                  <a:gd name="connsiteX6" fmla="*/ 17734 w 183250"/>
                  <a:gd name="connsiteY6" fmla="*/ 194843 h 210640"/>
                  <a:gd name="connsiteX7" fmla="*/ 109359 w 183250"/>
                  <a:gd name="connsiteY7" fmla="*/ 22381 h 210640"/>
                  <a:gd name="connsiteX8" fmla="*/ 146304 w 183250"/>
                  <a:gd name="connsiteY8" fmla="*/ 55293 h 210640"/>
                  <a:gd name="connsiteX9" fmla="*/ 109359 w 183250"/>
                  <a:gd name="connsiteY9" fmla="*/ 55293 h 210640"/>
                  <a:gd name="connsiteX10" fmla="*/ 109359 w 183250"/>
                  <a:gd name="connsiteY10" fmla="*/ 22381 h 210640"/>
                  <a:gd name="connsiteX11" fmla="*/ 109359 w 183250"/>
                  <a:gd name="connsiteY11" fmla="*/ 0 h 210640"/>
                  <a:gd name="connsiteX12" fmla="*/ 0 w 183250"/>
                  <a:gd name="connsiteY12" fmla="*/ 0 h 210640"/>
                  <a:gd name="connsiteX13" fmla="*/ 0 w 183250"/>
                  <a:gd name="connsiteY13" fmla="*/ 210641 h 210640"/>
                  <a:gd name="connsiteX14" fmla="*/ 183250 w 183250"/>
                  <a:gd name="connsiteY14" fmla="*/ 210641 h 210640"/>
                  <a:gd name="connsiteX15" fmla="*/ 183250 w 183250"/>
                  <a:gd name="connsiteY15" fmla="*/ 57926 h 210640"/>
                  <a:gd name="connsiteX16" fmla="*/ 109359 w 183250"/>
                  <a:gd name="connsiteY16" fmla="*/ 0 h 21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50" h="210640">
                    <a:moveTo>
                      <a:pt x="17734" y="194843"/>
                    </a:moveTo>
                    <a:lnTo>
                      <a:pt x="17734" y="15798"/>
                    </a:lnTo>
                    <a:lnTo>
                      <a:pt x="91625" y="15798"/>
                    </a:lnTo>
                    <a:lnTo>
                      <a:pt x="91625" y="71091"/>
                    </a:lnTo>
                    <a:lnTo>
                      <a:pt x="165516" y="71091"/>
                    </a:lnTo>
                    <a:lnTo>
                      <a:pt x="165516" y="194843"/>
                    </a:lnTo>
                    <a:lnTo>
                      <a:pt x="17734" y="194843"/>
                    </a:lnTo>
                    <a:close/>
                    <a:moveTo>
                      <a:pt x="109359" y="22381"/>
                    </a:moveTo>
                    <a:lnTo>
                      <a:pt x="146304" y="55293"/>
                    </a:lnTo>
                    <a:lnTo>
                      <a:pt x="109359" y="55293"/>
                    </a:lnTo>
                    <a:lnTo>
                      <a:pt x="109359" y="22381"/>
                    </a:lnTo>
                    <a:close/>
                    <a:moveTo>
                      <a:pt x="109359" y="0"/>
                    </a:moveTo>
                    <a:lnTo>
                      <a:pt x="0" y="0"/>
                    </a:lnTo>
                    <a:lnTo>
                      <a:pt x="0" y="210641"/>
                    </a:lnTo>
                    <a:lnTo>
                      <a:pt x="183250" y="210641"/>
                    </a:lnTo>
                    <a:lnTo>
                      <a:pt x="183250" y="57926"/>
                    </a:lnTo>
                    <a:lnTo>
                      <a:pt x="109359" y="0"/>
                    </a:lnTo>
                    <a:close/>
                  </a:path>
                </a:pathLst>
              </a:custGeom>
              <a:solidFill>
                <a:schemeClr val="accent3"/>
              </a:solidFill>
              <a:ln w="2877" cap="flat">
                <a:noFill/>
                <a:prstDash val="solid"/>
                <a:miter/>
              </a:ln>
            </p:spPr>
            <p:txBody>
              <a:bodyPr rtlCol="0" anchor="ctr"/>
              <a:lstStyle/>
              <a:p>
                <a:endParaRPr lang="en-US" sz="2400"/>
              </a:p>
            </p:txBody>
          </p:sp>
          <p:sp>
            <p:nvSpPr>
              <p:cNvPr id="860" name="Freeform: Shape 859">
                <a:extLst>
                  <a:ext uri="{FF2B5EF4-FFF2-40B4-BE49-F238E27FC236}">
                    <a16:creationId xmlns:a16="http://schemas.microsoft.com/office/drawing/2014/main" id="{020DF7C9-3D79-4D23-897C-465D078ACE12}"/>
                  </a:ext>
                </a:extLst>
              </p:cNvPr>
              <p:cNvSpPr/>
              <p:nvPr/>
            </p:nvSpPr>
            <p:spPr>
              <a:xfrm>
                <a:off x="8101571" y="2858913"/>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861" name="Freeform: Shape 860">
                <a:extLst>
                  <a:ext uri="{FF2B5EF4-FFF2-40B4-BE49-F238E27FC236}">
                    <a16:creationId xmlns:a16="http://schemas.microsoft.com/office/drawing/2014/main" id="{7D7A5C9D-18E5-4C50-B346-B3746E4BD5F6}"/>
                  </a:ext>
                </a:extLst>
              </p:cNvPr>
              <p:cNvSpPr/>
              <p:nvPr/>
            </p:nvSpPr>
            <p:spPr>
              <a:xfrm>
                <a:off x="8101571" y="2837849"/>
                <a:ext cx="38423" cy="10532"/>
              </a:xfrm>
              <a:custGeom>
                <a:avLst/>
                <a:gdLst>
                  <a:gd name="connsiteX0" fmla="*/ 0 w 38423"/>
                  <a:gd name="connsiteY0" fmla="*/ 0 h 10532"/>
                  <a:gd name="connsiteX1" fmla="*/ 38423 w 38423"/>
                  <a:gd name="connsiteY1" fmla="*/ 0 h 10532"/>
                  <a:gd name="connsiteX2" fmla="*/ 38423 w 38423"/>
                  <a:gd name="connsiteY2" fmla="*/ 10532 h 10532"/>
                  <a:gd name="connsiteX3" fmla="*/ 0 w 38423"/>
                  <a:gd name="connsiteY3" fmla="*/ 10532 h 10532"/>
                </a:gdLst>
                <a:ahLst/>
                <a:cxnLst>
                  <a:cxn ang="0">
                    <a:pos x="connsiteX0" y="connsiteY0"/>
                  </a:cxn>
                  <a:cxn ang="0">
                    <a:pos x="connsiteX1" y="connsiteY1"/>
                  </a:cxn>
                  <a:cxn ang="0">
                    <a:pos x="connsiteX2" y="connsiteY2"/>
                  </a:cxn>
                  <a:cxn ang="0">
                    <a:pos x="connsiteX3" y="connsiteY3"/>
                  </a:cxn>
                </a:cxnLst>
                <a:rect l="l" t="t" r="r" b="b"/>
                <a:pathLst>
                  <a:path w="38423" h="10532">
                    <a:moveTo>
                      <a:pt x="0" y="0"/>
                    </a:moveTo>
                    <a:lnTo>
                      <a:pt x="38423" y="0"/>
                    </a:lnTo>
                    <a:lnTo>
                      <a:pt x="38423"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862" name="Freeform: Shape 861">
                <a:extLst>
                  <a:ext uri="{FF2B5EF4-FFF2-40B4-BE49-F238E27FC236}">
                    <a16:creationId xmlns:a16="http://schemas.microsoft.com/office/drawing/2014/main" id="{C59FAF93-41A1-4654-AB83-BB6A311F760C}"/>
                  </a:ext>
                </a:extLst>
              </p:cNvPr>
              <p:cNvSpPr/>
              <p:nvPr/>
            </p:nvSpPr>
            <p:spPr>
              <a:xfrm>
                <a:off x="8101571" y="2879978"/>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863" name="Freeform: Shape 862">
                <a:extLst>
                  <a:ext uri="{FF2B5EF4-FFF2-40B4-BE49-F238E27FC236}">
                    <a16:creationId xmlns:a16="http://schemas.microsoft.com/office/drawing/2014/main" id="{70FED533-A3BA-460C-92B8-886F3D6763BB}"/>
                  </a:ext>
                </a:extLst>
              </p:cNvPr>
              <p:cNvSpPr/>
              <p:nvPr/>
            </p:nvSpPr>
            <p:spPr>
              <a:xfrm>
                <a:off x="8101571" y="2901042"/>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sp>
            <p:nvSpPr>
              <p:cNvPr id="864" name="Freeform: Shape 863">
                <a:extLst>
                  <a:ext uri="{FF2B5EF4-FFF2-40B4-BE49-F238E27FC236}">
                    <a16:creationId xmlns:a16="http://schemas.microsoft.com/office/drawing/2014/main" id="{1C21DCD2-B11F-4E0E-9C53-8D7FCC7D88F7}"/>
                  </a:ext>
                </a:extLst>
              </p:cNvPr>
              <p:cNvSpPr/>
              <p:nvPr/>
            </p:nvSpPr>
            <p:spPr>
              <a:xfrm>
                <a:off x="8101571" y="2922106"/>
                <a:ext cx="112315" cy="10532"/>
              </a:xfrm>
              <a:custGeom>
                <a:avLst/>
                <a:gdLst>
                  <a:gd name="connsiteX0" fmla="*/ 0 w 112314"/>
                  <a:gd name="connsiteY0" fmla="*/ 0 h 10532"/>
                  <a:gd name="connsiteX1" fmla="*/ 112315 w 112314"/>
                  <a:gd name="connsiteY1" fmla="*/ 0 h 10532"/>
                  <a:gd name="connsiteX2" fmla="*/ 112315 w 112314"/>
                  <a:gd name="connsiteY2" fmla="*/ 10532 h 10532"/>
                  <a:gd name="connsiteX3" fmla="*/ 0 w 112314"/>
                  <a:gd name="connsiteY3" fmla="*/ 10532 h 10532"/>
                </a:gdLst>
                <a:ahLst/>
                <a:cxnLst>
                  <a:cxn ang="0">
                    <a:pos x="connsiteX0" y="connsiteY0"/>
                  </a:cxn>
                  <a:cxn ang="0">
                    <a:pos x="connsiteX1" y="connsiteY1"/>
                  </a:cxn>
                  <a:cxn ang="0">
                    <a:pos x="connsiteX2" y="connsiteY2"/>
                  </a:cxn>
                  <a:cxn ang="0">
                    <a:pos x="connsiteX3" y="connsiteY3"/>
                  </a:cxn>
                </a:cxnLst>
                <a:rect l="l" t="t" r="r" b="b"/>
                <a:pathLst>
                  <a:path w="112314" h="10532">
                    <a:moveTo>
                      <a:pt x="0" y="0"/>
                    </a:moveTo>
                    <a:lnTo>
                      <a:pt x="112315" y="0"/>
                    </a:lnTo>
                    <a:lnTo>
                      <a:pt x="112315" y="10532"/>
                    </a:lnTo>
                    <a:lnTo>
                      <a:pt x="0" y="10532"/>
                    </a:lnTo>
                    <a:close/>
                  </a:path>
                </a:pathLst>
              </a:custGeom>
              <a:solidFill>
                <a:schemeClr val="accent3"/>
              </a:solidFill>
              <a:ln w="2877" cap="flat">
                <a:noFill/>
                <a:prstDash val="solid"/>
                <a:miter/>
              </a:ln>
            </p:spPr>
            <p:txBody>
              <a:bodyPr rtlCol="0" anchor="ctr"/>
              <a:lstStyle/>
              <a:p>
                <a:endParaRPr lang="en-US" sz="2400"/>
              </a:p>
            </p:txBody>
          </p:sp>
        </p:grpSp>
        <p:cxnSp>
          <p:nvCxnSpPr>
            <p:cNvPr id="865" name="Straight Connector 864">
              <a:extLst>
                <a:ext uri="{FF2B5EF4-FFF2-40B4-BE49-F238E27FC236}">
                  <a16:creationId xmlns:a16="http://schemas.microsoft.com/office/drawing/2014/main" id="{80CE82AF-B41B-4584-857A-F6CE55228397}"/>
                </a:ext>
              </a:extLst>
            </p:cNvPr>
            <p:cNvCxnSpPr>
              <a:cxnSpLocks/>
              <a:endCxn id="859" idx="11"/>
            </p:cNvCxnSpPr>
            <p:nvPr/>
          </p:nvCxnSpPr>
          <p:spPr bwMode="auto">
            <a:xfrm flipH="1">
              <a:off x="3213852" y="1620477"/>
              <a:ext cx="38424" cy="399760"/>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3" name="Straight Connector 872">
              <a:extLst>
                <a:ext uri="{FF2B5EF4-FFF2-40B4-BE49-F238E27FC236}">
                  <a16:creationId xmlns:a16="http://schemas.microsoft.com/office/drawing/2014/main" id="{535AF036-0120-46B4-8647-249D5B234DF5}"/>
                </a:ext>
              </a:extLst>
            </p:cNvPr>
            <p:cNvCxnSpPr>
              <a:cxnSpLocks/>
              <a:endCxn id="719" idx="3"/>
            </p:cNvCxnSpPr>
            <p:nvPr/>
          </p:nvCxnSpPr>
          <p:spPr bwMode="auto">
            <a:xfrm flipV="1">
              <a:off x="2447456" y="1660865"/>
              <a:ext cx="79019" cy="743040"/>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80" name="Graphic 220" descr="Document">
              <a:extLst>
                <a:ext uri="{FF2B5EF4-FFF2-40B4-BE49-F238E27FC236}">
                  <a16:creationId xmlns:a16="http://schemas.microsoft.com/office/drawing/2014/main" id="{B084BEDD-BD5C-4DD2-B29C-4A58DEDE49AB}"/>
                </a:ext>
              </a:extLst>
            </p:cNvPr>
            <p:cNvGrpSpPr/>
            <p:nvPr/>
          </p:nvGrpSpPr>
          <p:grpSpPr>
            <a:xfrm>
              <a:off x="1737156" y="2012701"/>
              <a:ext cx="202134" cy="216499"/>
              <a:chOff x="7129418" y="2451503"/>
              <a:chExt cx="202134" cy="216499"/>
            </a:xfrm>
          </p:grpSpPr>
          <p:sp>
            <p:nvSpPr>
              <p:cNvPr id="881" name="Freeform: Shape 880">
                <a:extLst>
                  <a:ext uri="{FF2B5EF4-FFF2-40B4-BE49-F238E27FC236}">
                    <a16:creationId xmlns:a16="http://schemas.microsoft.com/office/drawing/2014/main" id="{4CCB3D6D-5908-4D1A-8B40-F75D30A5A698}"/>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endParaRPr lang="en-US" sz="2400"/>
              </a:p>
            </p:txBody>
          </p:sp>
          <p:sp>
            <p:nvSpPr>
              <p:cNvPr id="882" name="Freeform: Shape 881">
                <a:extLst>
                  <a:ext uri="{FF2B5EF4-FFF2-40B4-BE49-F238E27FC236}">
                    <a16:creationId xmlns:a16="http://schemas.microsoft.com/office/drawing/2014/main" id="{73F7F1F6-177F-478D-9266-6779C781CE25}"/>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83" name="Freeform: Shape 882">
                <a:extLst>
                  <a:ext uri="{FF2B5EF4-FFF2-40B4-BE49-F238E27FC236}">
                    <a16:creationId xmlns:a16="http://schemas.microsoft.com/office/drawing/2014/main" id="{22FE401F-0358-42F3-A1C5-69566E0E0737}"/>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84" name="Freeform: Shape 883">
                <a:extLst>
                  <a:ext uri="{FF2B5EF4-FFF2-40B4-BE49-F238E27FC236}">
                    <a16:creationId xmlns:a16="http://schemas.microsoft.com/office/drawing/2014/main" id="{CDA42CB6-A83A-42E4-83A3-4C7F1849EE86}"/>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85" name="Freeform: Shape 884">
                <a:extLst>
                  <a:ext uri="{FF2B5EF4-FFF2-40B4-BE49-F238E27FC236}">
                    <a16:creationId xmlns:a16="http://schemas.microsoft.com/office/drawing/2014/main" id="{7BBC96FD-6B1A-44E0-BEED-6FD38BE899CC}"/>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886" name="Freeform: Shape 885">
                <a:extLst>
                  <a:ext uri="{FF2B5EF4-FFF2-40B4-BE49-F238E27FC236}">
                    <a16:creationId xmlns:a16="http://schemas.microsoft.com/office/drawing/2014/main" id="{3992673B-95B0-4BA8-9700-9588609F18C6}"/>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grpSp>
        <p:cxnSp>
          <p:nvCxnSpPr>
            <p:cNvPr id="887" name="Straight Connector 886">
              <a:extLst>
                <a:ext uri="{FF2B5EF4-FFF2-40B4-BE49-F238E27FC236}">
                  <a16:creationId xmlns:a16="http://schemas.microsoft.com/office/drawing/2014/main" id="{753756C8-5482-463B-9810-E35E7DBD7F16}"/>
                </a:ext>
              </a:extLst>
            </p:cNvPr>
            <p:cNvCxnSpPr>
              <a:cxnSpLocks/>
              <a:endCxn id="881" idx="1"/>
            </p:cNvCxnSpPr>
            <p:nvPr/>
          </p:nvCxnSpPr>
          <p:spPr bwMode="auto">
            <a:xfrm>
              <a:off x="1269279" y="1644814"/>
              <a:ext cx="487438" cy="384124"/>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0" name="Straight Connector 889">
              <a:extLst>
                <a:ext uri="{FF2B5EF4-FFF2-40B4-BE49-F238E27FC236}">
                  <a16:creationId xmlns:a16="http://schemas.microsoft.com/office/drawing/2014/main" id="{CDB34730-E2D7-41E8-BEDC-66D79FF8ABDA}"/>
                </a:ext>
              </a:extLst>
            </p:cNvPr>
            <p:cNvCxnSpPr>
              <a:cxnSpLocks/>
              <a:endCxn id="881" idx="4"/>
            </p:cNvCxnSpPr>
            <p:nvPr/>
          </p:nvCxnSpPr>
          <p:spPr bwMode="auto">
            <a:xfrm flipH="1">
              <a:off x="1919729" y="1625083"/>
              <a:ext cx="716045" cy="460686"/>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3" name="Straight Connector 892">
              <a:extLst>
                <a:ext uri="{FF2B5EF4-FFF2-40B4-BE49-F238E27FC236}">
                  <a16:creationId xmlns:a16="http://schemas.microsoft.com/office/drawing/2014/main" id="{A4D7DC20-3ED2-40D2-8927-830358AA8E16}"/>
                </a:ext>
              </a:extLst>
            </p:cNvPr>
            <p:cNvCxnSpPr>
              <a:cxnSpLocks/>
              <a:endCxn id="881" idx="15"/>
            </p:cNvCxnSpPr>
            <p:nvPr/>
          </p:nvCxnSpPr>
          <p:spPr bwMode="auto">
            <a:xfrm flipH="1">
              <a:off x="1939291" y="1603896"/>
              <a:ext cx="1239093" cy="468342"/>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6" name="Straight Connector 895">
              <a:extLst>
                <a:ext uri="{FF2B5EF4-FFF2-40B4-BE49-F238E27FC236}">
                  <a16:creationId xmlns:a16="http://schemas.microsoft.com/office/drawing/2014/main" id="{794D64F8-E425-46DC-9A2B-3413F3A5C8DB}"/>
                </a:ext>
              </a:extLst>
            </p:cNvPr>
            <p:cNvCxnSpPr>
              <a:cxnSpLocks/>
              <a:stCxn id="716" idx="3"/>
              <a:endCxn id="881" idx="4"/>
            </p:cNvCxnSpPr>
            <p:nvPr/>
          </p:nvCxnSpPr>
          <p:spPr bwMode="auto">
            <a:xfrm flipH="1">
              <a:off x="1919729" y="1675885"/>
              <a:ext cx="2051384" cy="409884"/>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99" name="Graphic 221" descr="Statistics">
              <a:extLst>
                <a:ext uri="{FF2B5EF4-FFF2-40B4-BE49-F238E27FC236}">
                  <a16:creationId xmlns:a16="http://schemas.microsoft.com/office/drawing/2014/main" id="{3093FF73-D235-478D-824B-B9DEE0E3FCAF}"/>
                </a:ext>
              </a:extLst>
            </p:cNvPr>
            <p:cNvGrpSpPr/>
            <p:nvPr/>
          </p:nvGrpSpPr>
          <p:grpSpPr>
            <a:xfrm>
              <a:off x="1984225" y="2443384"/>
              <a:ext cx="224955" cy="189453"/>
              <a:chOff x="7485079" y="2824981"/>
              <a:chExt cx="224955" cy="189453"/>
            </a:xfrm>
          </p:grpSpPr>
          <p:sp>
            <p:nvSpPr>
              <p:cNvPr id="900" name="Freeform: Shape 899">
                <a:extLst>
                  <a:ext uri="{FF2B5EF4-FFF2-40B4-BE49-F238E27FC236}">
                    <a16:creationId xmlns:a16="http://schemas.microsoft.com/office/drawing/2014/main" id="{104BC7F3-9617-45B3-A357-EC6DE4CD33F7}"/>
                  </a:ext>
                </a:extLst>
              </p:cNvPr>
              <p:cNvSpPr/>
              <p:nvPr/>
            </p:nvSpPr>
            <p:spPr>
              <a:xfrm>
                <a:off x="7520887" y="282498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endParaRPr lang="en-US" sz="2400"/>
              </a:p>
            </p:txBody>
          </p:sp>
          <p:sp>
            <p:nvSpPr>
              <p:cNvPr id="901" name="Freeform: Shape 900">
                <a:extLst>
                  <a:ext uri="{FF2B5EF4-FFF2-40B4-BE49-F238E27FC236}">
                    <a16:creationId xmlns:a16="http://schemas.microsoft.com/office/drawing/2014/main" id="{E0D80697-7FBE-496E-AF02-2AEA4254A933}"/>
                  </a:ext>
                </a:extLst>
              </p:cNvPr>
              <p:cNvSpPr/>
              <p:nvPr/>
            </p:nvSpPr>
            <p:spPr>
              <a:xfrm>
                <a:off x="7485079" y="282499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endParaRPr lang="en-US" sz="2400"/>
              </a:p>
            </p:txBody>
          </p:sp>
        </p:grpSp>
        <p:cxnSp>
          <p:nvCxnSpPr>
            <p:cNvPr id="908" name="Straight Connector 907">
              <a:extLst>
                <a:ext uri="{FF2B5EF4-FFF2-40B4-BE49-F238E27FC236}">
                  <a16:creationId xmlns:a16="http://schemas.microsoft.com/office/drawing/2014/main" id="{A7B7E2E1-4855-49AE-9EA7-189287C214AF}"/>
                </a:ext>
              </a:extLst>
            </p:cNvPr>
            <p:cNvCxnSpPr>
              <a:cxnSpLocks/>
              <a:stCxn id="886" idx="3"/>
              <a:endCxn id="342" idx="0"/>
            </p:cNvCxnSpPr>
            <p:nvPr/>
          </p:nvCxnSpPr>
          <p:spPr bwMode="auto">
            <a:xfrm flipH="1">
              <a:off x="1737156" y="2188608"/>
              <a:ext cx="39122" cy="696259"/>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0" name="Flowchart: Magnetic Disk 249">
            <a:extLst>
              <a:ext uri="{FF2B5EF4-FFF2-40B4-BE49-F238E27FC236}">
                <a16:creationId xmlns:a16="http://schemas.microsoft.com/office/drawing/2014/main" id="{E74EEFF8-2772-416B-BC60-8E57779E2310}"/>
              </a:ext>
            </a:extLst>
          </p:cNvPr>
          <p:cNvSpPr/>
          <p:nvPr/>
        </p:nvSpPr>
        <p:spPr bwMode="auto">
          <a:xfrm>
            <a:off x="7045018" y="2705501"/>
            <a:ext cx="1264781" cy="422544"/>
          </a:xfrm>
          <a:prstGeom prst="flowChartMagneticDisk">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r>
              <a:rPr lang="en-GB" sz="900">
                <a:solidFill>
                  <a:schemeClr val="bg1"/>
                </a:solidFill>
                <a:cs typeface="Arial"/>
              </a:rPr>
              <a:t>CDP</a:t>
            </a:r>
          </a:p>
        </p:txBody>
      </p:sp>
      <p:cxnSp>
        <p:nvCxnSpPr>
          <p:cNvPr id="304" name="Straight Connector 303">
            <a:extLst>
              <a:ext uri="{FF2B5EF4-FFF2-40B4-BE49-F238E27FC236}">
                <a16:creationId xmlns:a16="http://schemas.microsoft.com/office/drawing/2014/main" id="{84C38D1C-EAD4-4C14-A07C-CCAD5EE77F16}"/>
              </a:ext>
            </a:extLst>
          </p:cNvPr>
          <p:cNvCxnSpPr>
            <a:cxnSpLocks/>
          </p:cNvCxnSpPr>
          <p:nvPr/>
        </p:nvCxnSpPr>
        <p:spPr bwMode="auto">
          <a:xfrm>
            <a:off x="7154019" y="2054147"/>
            <a:ext cx="115099" cy="654845"/>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TextBox 59">
            <a:extLst>
              <a:ext uri="{FF2B5EF4-FFF2-40B4-BE49-F238E27FC236}">
                <a16:creationId xmlns:a16="http://schemas.microsoft.com/office/drawing/2014/main" id="{134A6AE7-3769-4F56-82F7-F283AA66F7CC}"/>
              </a:ext>
            </a:extLst>
          </p:cNvPr>
          <p:cNvSpPr txBox="1"/>
          <p:nvPr/>
        </p:nvSpPr>
        <p:spPr bwMode="auto">
          <a:xfrm>
            <a:off x="6995706" y="2324516"/>
            <a:ext cx="818940"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800"/>
              </a:spcAft>
              <a:buClr>
                <a:schemeClr val="tx1"/>
              </a:buClr>
            </a:pPr>
            <a:r>
              <a:rPr lang="en-US" sz="1067" kern="0"/>
              <a:t>Transaction</a:t>
            </a:r>
          </a:p>
        </p:txBody>
      </p:sp>
      <p:sp>
        <p:nvSpPr>
          <p:cNvPr id="325" name="TextBox 324">
            <a:extLst>
              <a:ext uri="{FF2B5EF4-FFF2-40B4-BE49-F238E27FC236}">
                <a16:creationId xmlns:a16="http://schemas.microsoft.com/office/drawing/2014/main" id="{A26330CE-F199-474B-8FB4-56A28107F566}"/>
              </a:ext>
            </a:extLst>
          </p:cNvPr>
          <p:cNvSpPr txBox="1"/>
          <p:nvPr/>
        </p:nvSpPr>
        <p:spPr bwMode="auto">
          <a:xfrm>
            <a:off x="8571593" y="2500022"/>
            <a:ext cx="568060"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800"/>
              </a:spcAft>
              <a:buClr>
                <a:schemeClr val="tx1"/>
              </a:buClr>
            </a:pPr>
            <a:r>
              <a:rPr lang="en-US" sz="1067" kern="0"/>
              <a:t>Master</a:t>
            </a:r>
          </a:p>
        </p:txBody>
      </p:sp>
      <p:sp>
        <p:nvSpPr>
          <p:cNvPr id="341" name="Flowchart: Magnetic Disk 340">
            <a:extLst>
              <a:ext uri="{FF2B5EF4-FFF2-40B4-BE49-F238E27FC236}">
                <a16:creationId xmlns:a16="http://schemas.microsoft.com/office/drawing/2014/main" id="{70E53CD0-2E44-453E-AC3C-171C4F94C25D}"/>
              </a:ext>
            </a:extLst>
          </p:cNvPr>
          <p:cNvSpPr/>
          <p:nvPr/>
        </p:nvSpPr>
        <p:spPr bwMode="auto">
          <a:xfrm>
            <a:off x="541703" y="3128281"/>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sp>
        <p:nvSpPr>
          <p:cNvPr id="342" name="Flowchart: Magnetic Disk 341">
            <a:extLst>
              <a:ext uri="{FF2B5EF4-FFF2-40B4-BE49-F238E27FC236}">
                <a16:creationId xmlns:a16="http://schemas.microsoft.com/office/drawing/2014/main" id="{BE5120CD-D455-455E-993F-95EC8AAF3E23}"/>
              </a:ext>
            </a:extLst>
          </p:cNvPr>
          <p:cNvSpPr/>
          <p:nvPr/>
        </p:nvSpPr>
        <p:spPr bwMode="auto">
          <a:xfrm>
            <a:off x="2160435" y="3689806"/>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sp>
        <p:nvSpPr>
          <p:cNvPr id="343" name="Flowchart: Magnetic Disk 342">
            <a:extLst>
              <a:ext uri="{FF2B5EF4-FFF2-40B4-BE49-F238E27FC236}">
                <a16:creationId xmlns:a16="http://schemas.microsoft.com/office/drawing/2014/main" id="{2BC6E223-744A-49DC-8467-864CF0CEC97F}"/>
              </a:ext>
            </a:extLst>
          </p:cNvPr>
          <p:cNvSpPr/>
          <p:nvPr/>
        </p:nvSpPr>
        <p:spPr bwMode="auto">
          <a:xfrm>
            <a:off x="3679380" y="3500405"/>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sp>
        <p:nvSpPr>
          <p:cNvPr id="345" name="Flowchart: Magnetic Disk 344">
            <a:extLst>
              <a:ext uri="{FF2B5EF4-FFF2-40B4-BE49-F238E27FC236}">
                <a16:creationId xmlns:a16="http://schemas.microsoft.com/office/drawing/2014/main" id="{5D7F1C6B-8D8A-4476-8427-5DF2DD9C585A}"/>
              </a:ext>
            </a:extLst>
          </p:cNvPr>
          <p:cNvSpPr/>
          <p:nvPr/>
        </p:nvSpPr>
        <p:spPr bwMode="auto">
          <a:xfrm>
            <a:off x="3117170" y="3117651"/>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grpSp>
        <p:nvGrpSpPr>
          <p:cNvPr id="349" name="Graphic 217" descr="Statistics">
            <a:extLst>
              <a:ext uri="{FF2B5EF4-FFF2-40B4-BE49-F238E27FC236}">
                <a16:creationId xmlns:a16="http://schemas.microsoft.com/office/drawing/2014/main" id="{97187749-C3B6-48FB-9B2A-E9011144C613}"/>
              </a:ext>
            </a:extLst>
          </p:cNvPr>
          <p:cNvGrpSpPr/>
          <p:nvPr/>
        </p:nvGrpSpPr>
        <p:grpSpPr>
          <a:xfrm>
            <a:off x="945446" y="3375398"/>
            <a:ext cx="299940" cy="252604"/>
            <a:chOff x="5863694" y="2917641"/>
            <a:chExt cx="224955" cy="189453"/>
          </a:xfrm>
        </p:grpSpPr>
        <p:sp>
          <p:nvSpPr>
            <p:cNvPr id="350" name="Freeform: Shape 349">
              <a:extLst>
                <a:ext uri="{FF2B5EF4-FFF2-40B4-BE49-F238E27FC236}">
                  <a16:creationId xmlns:a16="http://schemas.microsoft.com/office/drawing/2014/main" id="{36379064-151B-426A-B151-14EAE798679B}"/>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endParaRPr lang="en-US" sz="2400"/>
            </a:p>
          </p:txBody>
        </p:sp>
        <p:sp>
          <p:nvSpPr>
            <p:cNvPr id="351" name="Freeform: Shape 350">
              <a:extLst>
                <a:ext uri="{FF2B5EF4-FFF2-40B4-BE49-F238E27FC236}">
                  <a16:creationId xmlns:a16="http://schemas.microsoft.com/office/drawing/2014/main" id="{90109B8C-98A6-4382-8ADD-2CE96189442F}"/>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endParaRPr lang="en-US" sz="2400"/>
            </a:p>
          </p:txBody>
        </p:sp>
      </p:grpSp>
      <p:grpSp>
        <p:nvGrpSpPr>
          <p:cNvPr id="352" name="Graphic 217" descr="Statistics">
            <a:extLst>
              <a:ext uri="{FF2B5EF4-FFF2-40B4-BE49-F238E27FC236}">
                <a16:creationId xmlns:a16="http://schemas.microsoft.com/office/drawing/2014/main" id="{06508EAB-4712-44D4-A7CA-439858EB282B}"/>
              </a:ext>
            </a:extLst>
          </p:cNvPr>
          <p:cNvGrpSpPr/>
          <p:nvPr/>
        </p:nvGrpSpPr>
        <p:grpSpPr>
          <a:xfrm>
            <a:off x="7128281" y="3601941"/>
            <a:ext cx="299940" cy="252604"/>
            <a:chOff x="5863694" y="2917641"/>
            <a:chExt cx="224955" cy="189453"/>
          </a:xfrm>
        </p:grpSpPr>
        <p:sp>
          <p:nvSpPr>
            <p:cNvPr id="353" name="Freeform: Shape 352">
              <a:extLst>
                <a:ext uri="{FF2B5EF4-FFF2-40B4-BE49-F238E27FC236}">
                  <a16:creationId xmlns:a16="http://schemas.microsoft.com/office/drawing/2014/main" id="{4174C75C-23AC-4E3A-B809-8FA068EC7BCE}"/>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endParaRPr lang="en-US" sz="2400"/>
            </a:p>
          </p:txBody>
        </p:sp>
        <p:sp>
          <p:nvSpPr>
            <p:cNvPr id="354" name="Freeform: Shape 353">
              <a:extLst>
                <a:ext uri="{FF2B5EF4-FFF2-40B4-BE49-F238E27FC236}">
                  <a16:creationId xmlns:a16="http://schemas.microsoft.com/office/drawing/2014/main" id="{F19F92F0-00F3-42B0-A52E-6C49E076A6D1}"/>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endParaRPr lang="en-US" sz="2400"/>
            </a:p>
          </p:txBody>
        </p:sp>
      </p:grpSp>
      <p:sp>
        <p:nvSpPr>
          <p:cNvPr id="356" name="Flowchart: Magnetic Disk 355">
            <a:extLst>
              <a:ext uri="{FF2B5EF4-FFF2-40B4-BE49-F238E27FC236}">
                <a16:creationId xmlns:a16="http://schemas.microsoft.com/office/drawing/2014/main" id="{ED4FC3FF-DD55-4783-89DB-CF3C1DCA134D}"/>
              </a:ext>
            </a:extLst>
          </p:cNvPr>
          <p:cNvSpPr/>
          <p:nvPr/>
        </p:nvSpPr>
        <p:spPr bwMode="auto">
          <a:xfrm>
            <a:off x="10842475" y="3395201"/>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grpSp>
        <p:nvGrpSpPr>
          <p:cNvPr id="358" name="Graphic 220" descr="Document">
            <a:extLst>
              <a:ext uri="{FF2B5EF4-FFF2-40B4-BE49-F238E27FC236}">
                <a16:creationId xmlns:a16="http://schemas.microsoft.com/office/drawing/2014/main" id="{66647D36-BC03-4E00-B6C9-D6C1CDD4D7D7}"/>
              </a:ext>
            </a:extLst>
          </p:cNvPr>
          <p:cNvGrpSpPr/>
          <p:nvPr/>
        </p:nvGrpSpPr>
        <p:grpSpPr>
          <a:xfrm>
            <a:off x="8511464" y="3623356"/>
            <a:ext cx="269512" cy="288665"/>
            <a:chOff x="7129418" y="2451503"/>
            <a:chExt cx="202134" cy="216499"/>
          </a:xfrm>
        </p:grpSpPr>
        <p:sp>
          <p:nvSpPr>
            <p:cNvPr id="359" name="Freeform: Shape 358">
              <a:extLst>
                <a:ext uri="{FF2B5EF4-FFF2-40B4-BE49-F238E27FC236}">
                  <a16:creationId xmlns:a16="http://schemas.microsoft.com/office/drawing/2014/main" id="{E65F5B26-4307-462F-9C4A-4A2B3D61BEFF}"/>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endParaRPr lang="en-US" sz="2400"/>
            </a:p>
          </p:txBody>
        </p:sp>
        <p:sp>
          <p:nvSpPr>
            <p:cNvPr id="360" name="Freeform: Shape 359">
              <a:extLst>
                <a:ext uri="{FF2B5EF4-FFF2-40B4-BE49-F238E27FC236}">
                  <a16:creationId xmlns:a16="http://schemas.microsoft.com/office/drawing/2014/main" id="{2A8B10AF-BAE8-401A-A879-615EA0A47183}"/>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361" name="Freeform: Shape 360">
              <a:extLst>
                <a:ext uri="{FF2B5EF4-FFF2-40B4-BE49-F238E27FC236}">
                  <a16:creationId xmlns:a16="http://schemas.microsoft.com/office/drawing/2014/main" id="{3E469251-513D-49B8-9ADD-CE195B20544E}"/>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362" name="Freeform: Shape 361">
              <a:extLst>
                <a:ext uri="{FF2B5EF4-FFF2-40B4-BE49-F238E27FC236}">
                  <a16:creationId xmlns:a16="http://schemas.microsoft.com/office/drawing/2014/main" id="{02180BAB-AB8F-4F1F-82AF-4D537FD928EB}"/>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363" name="Freeform: Shape 362">
              <a:extLst>
                <a:ext uri="{FF2B5EF4-FFF2-40B4-BE49-F238E27FC236}">
                  <a16:creationId xmlns:a16="http://schemas.microsoft.com/office/drawing/2014/main" id="{0928B368-E51D-4D15-B3B2-744109844437}"/>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364" name="Freeform: Shape 363">
              <a:extLst>
                <a:ext uri="{FF2B5EF4-FFF2-40B4-BE49-F238E27FC236}">
                  <a16:creationId xmlns:a16="http://schemas.microsoft.com/office/drawing/2014/main" id="{8BD7EE89-6A3F-48D5-B245-C194CC72448C}"/>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grpSp>
      <p:sp>
        <p:nvSpPr>
          <p:cNvPr id="486" name="Flowchart: Magnetic Disk 485">
            <a:extLst>
              <a:ext uri="{FF2B5EF4-FFF2-40B4-BE49-F238E27FC236}">
                <a16:creationId xmlns:a16="http://schemas.microsoft.com/office/drawing/2014/main" id="{B13FAFCD-4459-4F79-963C-F9B8066FD064}"/>
              </a:ext>
            </a:extLst>
          </p:cNvPr>
          <p:cNvSpPr/>
          <p:nvPr/>
        </p:nvSpPr>
        <p:spPr bwMode="auto">
          <a:xfrm>
            <a:off x="9781243" y="3814921"/>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cxnSp>
        <p:nvCxnSpPr>
          <p:cNvPr id="487" name="Straight Connector 486">
            <a:extLst>
              <a:ext uri="{FF2B5EF4-FFF2-40B4-BE49-F238E27FC236}">
                <a16:creationId xmlns:a16="http://schemas.microsoft.com/office/drawing/2014/main" id="{88817795-7CFC-4C6F-893D-45BC573E0633}"/>
              </a:ext>
            </a:extLst>
          </p:cNvPr>
          <p:cNvCxnSpPr>
            <a:cxnSpLocks/>
            <a:endCxn id="486" idx="1"/>
          </p:cNvCxnSpPr>
          <p:nvPr/>
        </p:nvCxnSpPr>
        <p:spPr bwMode="auto">
          <a:xfrm flipH="1">
            <a:off x="9936497" y="2846432"/>
            <a:ext cx="123387" cy="96848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8" name="Straight Connector 487">
            <a:extLst>
              <a:ext uri="{FF2B5EF4-FFF2-40B4-BE49-F238E27FC236}">
                <a16:creationId xmlns:a16="http://schemas.microsoft.com/office/drawing/2014/main" id="{F6BA7303-FF23-4A36-9AD7-E27D91EC1BFD}"/>
              </a:ext>
            </a:extLst>
          </p:cNvPr>
          <p:cNvCxnSpPr>
            <a:cxnSpLocks/>
            <a:endCxn id="489" idx="1"/>
          </p:cNvCxnSpPr>
          <p:nvPr/>
        </p:nvCxnSpPr>
        <p:spPr bwMode="auto">
          <a:xfrm>
            <a:off x="10432668" y="2861954"/>
            <a:ext cx="157485" cy="918068"/>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9" name="Flowchart: Magnetic Disk 488">
            <a:extLst>
              <a:ext uri="{FF2B5EF4-FFF2-40B4-BE49-F238E27FC236}">
                <a16:creationId xmlns:a16="http://schemas.microsoft.com/office/drawing/2014/main" id="{FFF93722-FF17-4A90-B9CE-8D86260D049A}"/>
              </a:ext>
            </a:extLst>
          </p:cNvPr>
          <p:cNvSpPr/>
          <p:nvPr/>
        </p:nvSpPr>
        <p:spPr bwMode="auto">
          <a:xfrm>
            <a:off x="10434899" y="3780022"/>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grpSp>
        <p:nvGrpSpPr>
          <p:cNvPr id="490" name="Graphic 220" descr="Document">
            <a:extLst>
              <a:ext uri="{FF2B5EF4-FFF2-40B4-BE49-F238E27FC236}">
                <a16:creationId xmlns:a16="http://schemas.microsoft.com/office/drawing/2014/main" id="{B4473CC1-EAE5-4C1C-8D29-989F51A43670}"/>
              </a:ext>
            </a:extLst>
          </p:cNvPr>
          <p:cNvGrpSpPr/>
          <p:nvPr/>
        </p:nvGrpSpPr>
        <p:grpSpPr>
          <a:xfrm>
            <a:off x="6625592" y="3794394"/>
            <a:ext cx="269512" cy="288665"/>
            <a:chOff x="7129418" y="2451503"/>
            <a:chExt cx="202134" cy="216499"/>
          </a:xfrm>
        </p:grpSpPr>
        <p:sp>
          <p:nvSpPr>
            <p:cNvPr id="491" name="Freeform: Shape 490">
              <a:extLst>
                <a:ext uri="{FF2B5EF4-FFF2-40B4-BE49-F238E27FC236}">
                  <a16:creationId xmlns:a16="http://schemas.microsoft.com/office/drawing/2014/main" id="{56FC9DE3-FFB9-4B5C-807A-AFEC31A0216D}"/>
                </a:ext>
              </a:extLst>
            </p:cNvPr>
            <p:cNvSpPr/>
            <p:nvPr/>
          </p:nvSpPr>
          <p:spPr>
            <a:xfrm>
              <a:off x="7129418" y="2451503"/>
              <a:ext cx="202134" cy="216499"/>
            </a:xfrm>
            <a:custGeom>
              <a:avLst/>
              <a:gdLst>
                <a:gd name="connsiteX0" fmla="*/ 19561 w 202133"/>
                <a:gd name="connsiteY0" fmla="*/ 200262 h 216499"/>
                <a:gd name="connsiteX1" fmla="*/ 19561 w 202133"/>
                <a:gd name="connsiteY1" fmla="*/ 16237 h 216499"/>
                <a:gd name="connsiteX2" fmla="*/ 101067 w 202133"/>
                <a:gd name="connsiteY2" fmla="*/ 16237 h 216499"/>
                <a:gd name="connsiteX3" fmla="*/ 101067 w 202133"/>
                <a:gd name="connsiteY3" fmla="*/ 73068 h 216499"/>
                <a:gd name="connsiteX4" fmla="*/ 182572 w 202133"/>
                <a:gd name="connsiteY4" fmla="*/ 73068 h 216499"/>
                <a:gd name="connsiteX5" fmla="*/ 182572 w 202133"/>
                <a:gd name="connsiteY5" fmla="*/ 200262 h 216499"/>
                <a:gd name="connsiteX6" fmla="*/ 19561 w 202133"/>
                <a:gd name="connsiteY6" fmla="*/ 200262 h 216499"/>
                <a:gd name="connsiteX7" fmla="*/ 120628 w 202133"/>
                <a:gd name="connsiteY7" fmla="*/ 23003 h 216499"/>
                <a:gd name="connsiteX8" fmla="*/ 161381 w 202133"/>
                <a:gd name="connsiteY8" fmla="*/ 56831 h 216499"/>
                <a:gd name="connsiteX9" fmla="*/ 120628 w 202133"/>
                <a:gd name="connsiteY9" fmla="*/ 56831 h 216499"/>
                <a:gd name="connsiteX10" fmla="*/ 120628 w 202133"/>
                <a:gd name="connsiteY10" fmla="*/ 23003 h 216499"/>
                <a:gd name="connsiteX11" fmla="*/ 120628 w 202133"/>
                <a:gd name="connsiteY11" fmla="*/ 0 h 216499"/>
                <a:gd name="connsiteX12" fmla="*/ 0 w 202133"/>
                <a:gd name="connsiteY12" fmla="*/ 0 h 216499"/>
                <a:gd name="connsiteX13" fmla="*/ 0 w 202133"/>
                <a:gd name="connsiteY13" fmla="*/ 216499 h 216499"/>
                <a:gd name="connsiteX14" fmla="*/ 202134 w 202133"/>
                <a:gd name="connsiteY14" fmla="*/ 216499 h 216499"/>
                <a:gd name="connsiteX15" fmla="*/ 202134 w 202133"/>
                <a:gd name="connsiteY15" fmla="*/ 59537 h 216499"/>
                <a:gd name="connsiteX16" fmla="*/ 120628 w 202133"/>
                <a:gd name="connsiteY16" fmla="*/ 0 h 21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133" h="216499">
                  <a:moveTo>
                    <a:pt x="19561" y="200262"/>
                  </a:moveTo>
                  <a:lnTo>
                    <a:pt x="19561" y="16237"/>
                  </a:lnTo>
                  <a:lnTo>
                    <a:pt x="101067" y="16237"/>
                  </a:lnTo>
                  <a:lnTo>
                    <a:pt x="101067" y="73068"/>
                  </a:lnTo>
                  <a:lnTo>
                    <a:pt x="182572" y="73068"/>
                  </a:lnTo>
                  <a:lnTo>
                    <a:pt x="182572" y="200262"/>
                  </a:lnTo>
                  <a:lnTo>
                    <a:pt x="19561" y="200262"/>
                  </a:lnTo>
                  <a:close/>
                  <a:moveTo>
                    <a:pt x="120628" y="23003"/>
                  </a:moveTo>
                  <a:lnTo>
                    <a:pt x="161381" y="56831"/>
                  </a:lnTo>
                  <a:lnTo>
                    <a:pt x="120628" y="56831"/>
                  </a:lnTo>
                  <a:lnTo>
                    <a:pt x="120628" y="23003"/>
                  </a:lnTo>
                  <a:close/>
                  <a:moveTo>
                    <a:pt x="120628" y="0"/>
                  </a:moveTo>
                  <a:lnTo>
                    <a:pt x="0" y="0"/>
                  </a:lnTo>
                  <a:lnTo>
                    <a:pt x="0" y="216499"/>
                  </a:lnTo>
                  <a:lnTo>
                    <a:pt x="202134" y="216499"/>
                  </a:lnTo>
                  <a:lnTo>
                    <a:pt x="202134" y="59537"/>
                  </a:lnTo>
                  <a:lnTo>
                    <a:pt x="120628" y="0"/>
                  </a:lnTo>
                  <a:close/>
                </a:path>
              </a:pathLst>
            </a:custGeom>
            <a:solidFill>
              <a:schemeClr val="accent3"/>
            </a:solidFill>
            <a:ln w="3175" cap="flat">
              <a:noFill/>
              <a:prstDash val="solid"/>
              <a:miter/>
            </a:ln>
          </p:spPr>
          <p:txBody>
            <a:bodyPr rtlCol="0" anchor="ctr"/>
            <a:lstStyle/>
            <a:p>
              <a:endParaRPr lang="en-US" sz="2400"/>
            </a:p>
          </p:txBody>
        </p:sp>
        <p:sp>
          <p:nvSpPr>
            <p:cNvPr id="492" name="Freeform: Shape 491">
              <a:extLst>
                <a:ext uri="{FF2B5EF4-FFF2-40B4-BE49-F238E27FC236}">
                  <a16:creationId xmlns:a16="http://schemas.microsoft.com/office/drawing/2014/main" id="{F8013FBE-3E9D-463D-9F50-3A5389465ADF}"/>
                </a:ext>
              </a:extLst>
            </p:cNvPr>
            <p:cNvSpPr/>
            <p:nvPr/>
          </p:nvSpPr>
          <p:spPr>
            <a:xfrm>
              <a:off x="7168540" y="25516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493" name="Freeform: Shape 492">
              <a:extLst>
                <a:ext uri="{FF2B5EF4-FFF2-40B4-BE49-F238E27FC236}">
                  <a16:creationId xmlns:a16="http://schemas.microsoft.com/office/drawing/2014/main" id="{26D13131-D695-4BA3-9E5F-A598F109444C}"/>
                </a:ext>
              </a:extLst>
            </p:cNvPr>
            <p:cNvSpPr/>
            <p:nvPr/>
          </p:nvSpPr>
          <p:spPr>
            <a:xfrm>
              <a:off x="7168540" y="2529984"/>
              <a:ext cx="42383" cy="10825"/>
            </a:xfrm>
            <a:custGeom>
              <a:avLst/>
              <a:gdLst>
                <a:gd name="connsiteX0" fmla="*/ 0 w 42382"/>
                <a:gd name="connsiteY0" fmla="*/ 0 h 10824"/>
                <a:gd name="connsiteX1" fmla="*/ 42383 w 42382"/>
                <a:gd name="connsiteY1" fmla="*/ 0 h 10824"/>
                <a:gd name="connsiteX2" fmla="*/ 42383 w 42382"/>
                <a:gd name="connsiteY2" fmla="*/ 10825 h 10824"/>
                <a:gd name="connsiteX3" fmla="*/ 0 w 42382"/>
                <a:gd name="connsiteY3" fmla="*/ 10825 h 10824"/>
              </a:gdLst>
              <a:ahLst/>
              <a:cxnLst>
                <a:cxn ang="0">
                  <a:pos x="connsiteX0" y="connsiteY0"/>
                </a:cxn>
                <a:cxn ang="0">
                  <a:pos x="connsiteX1" y="connsiteY1"/>
                </a:cxn>
                <a:cxn ang="0">
                  <a:pos x="connsiteX2" y="connsiteY2"/>
                </a:cxn>
                <a:cxn ang="0">
                  <a:pos x="connsiteX3" y="connsiteY3"/>
                </a:cxn>
              </a:cxnLst>
              <a:rect l="l" t="t" r="r" b="b"/>
              <a:pathLst>
                <a:path w="42382" h="10824">
                  <a:moveTo>
                    <a:pt x="0" y="0"/>
                  </a:moveTo>
                  <a:lnTo>
                    <a:pt x="42383" y="0"/>
                  </a:lnTo>
                  <a:lnTo>
                    <a:pt x="42383"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494" name="Freeform: Shape 493">
              <a:extLst>
                <a:ext uri="{FF2B5EF4-FFF2-40B4-BE49-F238E27FC236}">
                  <a16:creationId xmlns:a16="http://schemas.microsoft.com/office/drawing/2014/main" id="{98E5E0D6-B395-4DE1-B677-930C9273F6B6}"/>
                </a:ext>
              </a:extLst>
            </p:cNvPr>
            <p:cNvSpPr/>
            <p:nvPr/>
          </p:nvSpPr>
          <p:spPr>
            <a:xfrm>
              <a:off x="7168540" y="25732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495" name="Freeform: Shape 494">
              <a:extLst>
                <a:ext uri="{FF2B5EF4-FFF2-40B4-BE49-F238E27FC236}">
                  <a16:creationId xmlns:a16="http://schemas.microsoft.com/office/drawing/2014/main" id="{798B271D-456B-4DC8-9580-A8C57705126E}"/>
                </a:ext>
              </a:extLst>
            </p:cNvPr>
            <p:cNvSpPr/>
            <p:nvPr/>
          </p:nvSpPr>
          <p:spPr>
            <a:xfrm>
              <a:off x="7168540" y="259493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sp>
          <p:nvSpPr>
            <p:cNvPr id="496" name="Freeform: Shape 495">
              <a:extLst>
                <a:ext uri="{FF2B5EF4-FFF2-40B4-BE49-F238E27FC236}">
                  <a16:creationId xmlns:a16="http://schemas.microsoft.com/office/drawing/2014/main" id="{F321432E-2BD5-4E01-A8DB-C209F453A8AA}"/>
                </a:ext>
              </a:extLst>
            </p:cNvPr>
            <p:cNvSpPr/>
            <p:nvPr/>
          </p:nvSpPr>
          <p:spPr>
            <a:xfrm>
              <a:off x="7168540" y="2616584"/>
              <a:ext cx="123888" cy="10825"/>
            </a:xfrm>
            <a:custGeom>
              <a:avLst/>
              <a:gdLst>
                <a:gd name="connsiteX0" fmla="*/ 0 w 123888"/>
                <a:gd name="connsiteY0" fmla="*/ 0 h 10824"/>
                <a:gd name="connsiteX1" fmla="*/ 123888 w 123888"/>
                <a:gd name="connsiteY1" fmla="*/ 0 h 10824"/>
                <a:gd name="connsiteX2" fmla="*/ 123888 w 123888"/>
                <a:gd name="connsiteY2" fmla="*/ 10825 h 10824"/>
                <a:gd name="connsiteX3" fmla="*/ 0 w 123888"/>
                <a:gd name="connsiteY3" fmla="*/ 10825 h 10824"/>
              </a:gdLst>
              <a:ahLst/>
              <a:cxnLst>
                <a:cxn ang="0">
                  <a:pos x="connsiteX0" y="connsiteY0"/>
                </a:cxn>
                <a:cxn ang="0">
                  <a:pos x="connsiteX1" y="connsiteY1"/>
                </a:cxn>
                <a:cxn ang="0">
                  <a:pos x="connsiteX2" y="connsiteY2"/>
                </a:cxn>
                <a:cxn ang="0">
                  <a:pos x="connsiteX3" y="connsiteY3"/>
                </a:cxn>
              </a:cxnLst>
              <a:rect l="l" t="t" r="r" b="b"/>
              <a:pathLst>
                <a:path w="123888" h="10824">
                  <a:moveTo>
                    <a:pt x="0" y="0"/>
                  </a:moveTo>
                  <a:lnTo>
                    <a:pt x="123888" y="0"/>
                  </a:lnTo>
                  <a:lnTo>
                    <a:pt x="123888" y="10825"/>
                  </a:lnTo>
                  <a:lnTo>
                    <a:pt x="0" y="10825"/>
                  </a:lnTo>
                  <a:close/>
                </a:path>
              </a:pathLst>
            </a:custGeom>
            <a:solidFill>
              <a:schemeClr val="accent3"/>
            </a:solidFill>
            <a:ln w="3175" cap="flat">
              <a:noFill/>
              <a:prstDash val="solid"/>
              <a:miter/>
            </a:ln>
          </p:spPr>
          <p:txBody>
            <a:bodyPr rtlCol="0" anchor="ctr"/>
            <a:lstStyle/>
            <a:p>
              <a:endParaRPr lang="en-US" sz="2400"/>
            </a:p>
          </p:txBody>
        </p:sp>
      </p:grpSp>
      <p:grpSp>
        <p:nvGrpSpPr>
          <p:cNvPr id="497" name="Graphic 217" descr="Statistics">
            <a:extLst>
              <a:ext uri="{FF2B5EF4-FFF2-40B4-BE49-F238E27FC236}">
                <a16:creationId xmlns:a16="http://schemas.microsoft.com/office/drawing/2014/main" id="{9DC26EF8-14E4-4BAE-BE23-859688448558}"/>
              </a:ext>
            </a:extLst>
          </p:cNvPr>
          <p:cNvGrpSpPr/>
          <p:nvPr/>
        </p:nvGrpSpPr>
        <p:grpSpPr>
          <a:xfrm>
            <a:off x="7973707" y="3794394"/>
            <a:ext cx="299940" cy="252604"/>
            <a:chOff x="5863694" y="2917641"/>
            <a:chExt cx="224955" cy="189453"/>
          </a:xfrm>
        </p:grpSpPr>
        <p:sp>
          <p:nvSpPr>
            <p:cNvPr id="498" name="Freeform: Shape 497">
              <a:extLst>
                <a:ext uri="{FF2B5EF4-FFF2-40B4-BE49-F238E27FC236}">
                  <a16:creationId xmlns:a16="http://schemas.microsoft.com/office/drawing/2014/main" id="{DFDF6C35-CC63-49F8-BC6E-1733DFA63B74}"/>
                </a:ext>
              </a:extLst>
            </p:cNvPr>
            <p:cNvSpPr/>
            <p:nvPr/>
          </p:nvSpPr>
          <p:spPr>
            <a:xfrm>
              <a:off x="5899502" y="2917641"/>
              <a:ext cx="179312" cy="162374"/>
            </a:xfrm>
            <a:custGeom>
              <a:avLst/>
              <a:gdLst>
                <a:gd name="connsiteX0" fmla="*/ 179366 w 179312"/>
                <a:gd name="connsiteY0" fmla="*/ 18959 h 162374"/>
                <a:gd name="connsiteX1" fmla="*/ 156564 w 179312"/>
                <a:gd name="connsiteY1" fmla="*/ 0 h 162374"/>
                <a:gd name="connsiteX2" fmla="*/ 133723 w 179312"/>
                <a:gd name="connsiteY2" fmla="*/ 18928 h 162374"/>
                <a:gd name="connsiteX3" fmla="*/ 144091 w 179312"/>
                <a:gd name="connsiteY3" fmla="*/ 34818 h 162374"/>
                <a:gd name="connsiteX4" fmla="*/ 127203 w 179312"/>
                <a:gd name="connsiteY4" fmla="*/ 75790 h 162374"/>
                <a:gd name="connsiteX5" fmla="*/ 127203 w 179312"/>
                <a:gd name="connsiteY5" fmla="*/ 75790 h 162374"/>
                <a:gd name="connsiteX6" fmla="*/ 114162 w 179312"/>
                <a:gd name="connsiteY6" fmla="*/ 79173 h 162374"/>
                <a:gd name="connsiteX7" fmla="*/ 80125 w 179312"/>
                <a:gd name="connsiteY7" fmla="*/ 57983 h 162374"/>
                <a:gd name="connsiteX8" fmla="*/ 66619 w 179312"/>
                <a:gd name="connsiteY8" fmla="*/ 33652 h 162374"/>
                <a:gd name="connsiteX9" fmla="*/ 37306 w 179312"/>
                <a:gd name="connsiteY9" fmla="*/ 44863 h 162374"/>
                <a:gd name="connsiteX10" fmla="*/ 45958 w 179312"/>
                <a:gd name="connsiteY10" fmla="*/ 67130 h 162374"/>
                <a:gd name="connsiteX11" fmla="*/ 24212 w 179312"/>
                <a:gd name="connsiteY11" fmla="*/ 124503 h 162374"/>
                <a:gd name="connsiteX12" fmla="*/ 22876 w 179312"/>
                <a:gd name="connsiteY12" fmla="*/ 124503 h 162374"/>
                <a:gd name="connsiteX13" fmla="*/ 0 w 179312"/>
                <a:gd name="connsiteY13" fmla="*/ 143401 h 162374"/>
                <a:gd name="connsiteX14" fmla="*/ 22767 w 179312"/>
                <a:gd name="connsiteY14" fmla="*/ 162390 h 162374"/>
                <a:gd name="connsiteX15" fmla="*/ 45643 w 179312"/>
                <a:gd name="connsiteY15" fmla="*/ 143491 h 162374"/>
                <a:gd name="connsiteX16" fmla="*/ 36471 w 179312"/>
                <a:gd name="connsiteY16" fmla="*/ 128264 h 162374"/>
                <a:gd name="connsiteX17" fmla="*/ 58412 w 179312"/>
                <a:gd name="connsiteY17" fmla="*/ 70378 h 162374"/>
                <a:gd name="connsiteX18" fmla="*/ 58738 w 179312"/>
                <a:gd name="connsiteY18" fmla="*/ 70378 h 162374"/>
                <a:gd name="connsiteX19" fmla="*/ 72301 w 179312"/>
                <a:gd name="connsiteY19" fmla="*/ 66643 h 162374"/>
                <a:gd name="connsiteX20" fmla="*/ 106044 w 179312"/>
                <a:gd name="connsiteY20" fmla="*/ 87617 h 162374"/>
                <a:gd name="connsiteX21" fmla="*/ 104381 w 179312"/>
                <a:gd name="connsiteY21" fmla="*/ 94734 h 162374"/>
                <a:gd name="connsiteX22" fmla="*/ 127194 w 179312"/>
                <a:gd name="connsiteY22" fmla="*/ 113685 h 162374"/>
                <a:gd name="connsiteX23" fmla="*/ 150024 w 179312"/>
                <a:gd name="connsiteY23" fmla="*/ 94749 h 162374"/>
                <a:gd name="connsiteX24" fmla="*/ 139722 w 179312"/>
                <a:gd name="connsiteY24" fmla="*/ 78903 h 162374"/>
                <a:gd name="connsiteX25" fmla="*/ 156545 w 179312"/>
                <a:gd name="connsiteY25" fmla="*/ 37903 h 162374"/>
                <a:gd name="connsiteX26" fmla="*/ 179366 w 179312"/>
                <a:gd name="connsiteY26" fmla="*/ 18959 h 16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12" h="162374">
                  <a:moveTo>
                    <a:pt x="179366" y="18959"/>
                  </a:moveTo>
                  <a:cubicBezTo>
                    <a:pt x="179377" y="8497"/>
                    <a:pt x="169168" y="9"/>
                    <a:pt x="156564" y="0"/>
                  </a:cubicBezTo>
                  <a:cubicBezTo>
                    <a:pt x="143960" y="-9"/>
                    <a:pt x="133734" y="8466"/>
                    <a:pt x="133723" y="18928"/>
                  </a:cubicBezTo>
                  <a:cubicBezTo>
                    <a:pt x="133717" y="25340"/>
                    <a:pt x="137618" y="31319"/>
                    <a:pt x="144091" y="34818"/>
                  </a:cubicBezTo>
                  <a:lnTo>
                    <a:pt x="127203" y="75790"/>
                  </a:lnTo>
                  <a:lnTo>
                    <a:pt x="127203" y="75790"/>
                  </a:lnTo>
                  <a:cubicBezTo>
                    <a:pt x="122542" y="75786"/>
                    <a:pt x="117991" y="76967"/>
                    <a:pt x="114162" y="79173"/>
                  </a:cubicBezTo>
                  <a:lnTo>
                    <a:pt x="80125" y="57983"/>
                  </a:lnTo>
                  <a:cubicBezTo>
                    <a:pt x="84490" y="48168"/>
                    <a:pt x="78443" y="37275"/>
                    <a:pt x="66619" y="33652"/>
                  </a:cubicBezTo>
                  <a:cubicBezTo>
                    <a:pt x="54795" y="30029"/>
                    <a:pt x="41671" y="35048"/>
                    <a:pt x="37306" y="44863"/>
                  </a:cubicBezTo>
                  <a:cubicBezTo>
                    <a:pt x="33664" y="53054"/>
                    <a:pt x="37237" y="62250"/>
                    <a:pt x="45958" y="67130"/>
                  </a:cubicBezTo>
                  <a:lnTo>
                    <a:pt x="24212" y="124503"/>
                  </a:lnTo>
                  <a:lnTo>
                    <a:pt x="22876" y="124503"/>
                  </a:lnTo>
                  <a:cubicBezTo>
                    <a:pt x="10272" y="124478"/>
                    <a:pt x="30" y="132939"/>
                    <a:pt x="0" y="143401"/>
                  </a:cubicBezTo>
                  <a:cubicBezTo>
                    <a:pt x="-30" y="153864"/>
                    <a:pt x="10163" y="162365"/>
                    <a:pt x="22767" y="162390"/>
                  </a:cubicBezTo>
                  <a:cubicBezTo>
                    <a:pt x="35371" y="162415"/>
                    <a:pt x="45613" y="153954"/>
                    <a:pt x="45643" y="143491"/>
                  </a:cubicBezTo>
                  <a:cubicBezTo>
                    <a:pt x="45660" y="137497"/>
                    <a:pt x="42258" y="131850"/>
                    <a:pt x="36471" y="128264"/>
                  </a:cubicBezTo>
                  <a:lnTo>
                    <a:pt x="58412" y="70378"/>
                  </a:lnTo>
                  <a:lnTo>
                    <a:pt x="58738" y="70378"/>
                  </a:lnTo>
                  <a:cubicBezTo>
                    <a:pt x="63624" y="70370"/>
                    <a:pt x="68378" y="69061"/>
                    <a:pt x="72301" y="66643"/>
                  </a:cubicBezTo>
                  <a:lnTo>
                    <a:pt x="106044" y="87617"/>
                  </a:lnTo>
                  <a:cubicBezTo>
                    <a:pt x="104958" y="89882"/>
                    <a:pt x="104394" y="92296"/>
                    <a:pt x="104381" y="94734"/>
                  </a:cubicBezTo>
                  <a:cubicBezTo>
                    <a:pt x="104376" y="105196"/>
                    <a:pt x="114590" y="113681"/>
                    <a:pt x="127194" y="113685"/>
                  </a:cubicBezTo>
                  <a:cubicBezTo>
                    <a:pt x="139798" y="113689"/>
                    <a:pt x="150019" y="105211"/>
                    <a:pt x="150024" y="94749"/>
                  </a:cubicBezTo>
                  <a:cubicBezTo>
                    <a:pt x="150027" y="88363"/>
                    <a:pt x="146154" y="82406"/>
                    <a:pt x="139722" y="78903"/>
                  </a:cubicBezTo>
                  <a:lnTo>
                    <a:pt x="156545" y="37903"/>
                  </a:lnTo>
                  <a:cubicBezTo>
                    <a:pt x="169149" y="37903"/>
                    <a:pt x="179366" y="29422"/>
                    <a:pt x="179366" y="18959"/>
                  </a:cubicBezTo>
                  <a:close/>
                </a:path>
              </a:pathLst>
            </a:custGeom>
            <a:solidFill>
              <a:schemeClr val="accent3"/>
            </a:solidFill>
            <a:ln w="3175" cap="flat">
              <a:noFill/>
              <a:prstDash val="solid"/>
              <a:miter/>
            </a:ln>
          </p:spPr>
          <p:txBody>
            <a:bodyPr rtlCol="0" anchor="ctr"/>
            <a:lstStyle/>
            <a:p>
              <a:endParaRPr lang="en-US" sz="2400"/>
            </a:p>
          </p:txBody>
        </p:sp>
        <p:sp>
          <p:nvSpPr>
            <p:cNvPr id="499" name="Freeform: Shape 498">
              <a:extLst>
                <a:ext uri="{FF2B5EF4-FFF2-40B4-BE49-F238E27FC236}">
                  <a16:creationId xmlns:a16="http://schemas.microsoft.com/office/drawing/2014/main" id="{8707E9C3-8404-4C5A-8864-00157F72FC0A}"/>
                </a:ext>
              </a:extLst>
            </p:cNvPr>
            <p:cNvSpPr/>
            <p:nvPr/>
          </p:nvSpPr>
          <p:spPr>
            <a:xfrm>
              <a:off x="5863694" y="2917657"/>
              <a:ext cx="224955" cy="189437"/>
            </a:xfrm>
            <a:custGeom>
              <a:avLst/>
              <a:gdLst>
                <a:gd name="connsiteX0" fmla="*/ 19561 w 224955"/>
                <a:gd name="connsiteY0" fmla="*/ 0 h 189436"/>
                <a:gd name="connsiteX1" fmla="*/ 0 w 224955"/>
                <a:gd name="connsiteY1" fmla="*/ 0 h 189436"/>
                <a:gd name="connsiteX2" fmla="*/ 0 w 224955"/>
                <a:gd name="connsiteY2" fmla="*/ 189437 h 189436"/>
                <a:gd name="connsiteX3" fmla="*/ 224955 w 224955"/>
                <a:gd name="connsiteY3" fmla="*/ 189437 h 189436"/>
                <a:gd name="connsiteX4" fmla="*/ 224955 w 224955"/>
                <a:gd name="connsiteY4" fmla="*/ 173199 h 189436"/>
                <a:gd name="connsiteX5" fmla="*/ 19561 w 224955"/>
                <a:gd name="connsiteY5" fmla="*/ 173199 h 189436"/>
                <a:gd name="connsiteX6" fmla="*/ 19561 w 224955"/>
                <a:gd name="connsiteY6" fmla="*/ 0 h 18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55" h="189436">
                  <a:moveTo>
                    <a:pt x="19561" y="0"/>
                  </a:moveTo>
                  <a:lnTo>
                    <a:pt x="0" y="0"/>
                  </a:lnTo>
                  <a:lnTo>
                    <a:pt x="0" y="189437"/>
                  </a:lnTo>
                  <a:lnTo>
                    <a:pt x="224955" y="189437"/>
                  </a:lnTo>
                  <a:lnTo>
                    <a:pt x="224955" y="173199"/>
                  </a:lnTo>
                  <a:lnTo>
                    <a:pt x="19561" y="173199"/>
                  </a:lnTo>
                  <a:lnTo>
                    <a:pt x="19561" y="0"/>
                  </a:lnTo>
                  <a:close/>
                </a:path>
              </a:pathLst>
            </a:custGeom>
            <a:solidFill>
              <a:schemeClr val="accent3"/>
            </a:solidFill>
            <a:ln w="3175" cap="flat">
              <a:noFill/>
              <a:prstDash val="solid"/>
              <a:miter/>
            </a:ln>
          </p:spPr>
          <p:txBody>
            <a:bodyPr rtlCol="0" anchor="ctr"/>
            <a:lstStyle/>
            <a:p>
              <a:endParaRPr lang="en-US" sz="2400"/>
            </a:p>
          </p:txBody>
        </p:sp>
      </p:grpSp>
      <p:sp>
        <p:nvSpPr>
          <p:cNvPr id="500" name="Flowchart: Magnetic Disk 499">
            <a:extLst>
              <a:ext uri="{FF2B5EF4-FFF2-40B4-BE49-F238E27FC236}">
                <a16:creationId xmlns:a16="http://schemas.microsoft.com/office/drawing/2014/main" id="{4223E783-B1DD-43D9-BF21-ED1CBEB473E0}"/>
              </a:ext>
            </a:extLst>
          </p:cNvPr>
          <p:cNvSpPr/>
          <p:nvPr/>
        </p:nvSpPr>
        <p:spPr bwMode="auto">
          <a:xfrm>
            <a:off x="9183226" y="3386394"/>
            <a:ext cx="310509" cy="264460"/>
          </a:xfrm>
          <a:prstGeom prst="flowChartMagneticDisk">
            <a:avLst/>
          </a:prstGeom>
          <a:solidFill>
            <a:srgbClr val="FA4616"/>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a:spcAft>
                <a:spcPts val="451"/>
              </a:spcAft>
            </a:pPr>
            <a:endParaRPr lang="en-GB" sz="900">
              <a:solidFill>
                <a:schemeClr val="bg1"/>
              </a:solidFill>
              <a:cs typeface="Arial"/>
            </a:endParaRPr>
          </a:p>
        </p:txBody>
      </p:sp>
      <p:cxnSp>
        <p:nvCxnSpPr>
          <p:cNvPr id="240" name="Straight Arrow Connector 239">
            <a:extLst>
              <a:ext uri="{FF2B5EF4-FFF2-40B4-BE49-F238E27FC236}">
                <a16:creationId xmlns:a16="http://schemas.microsoft.com/office/drawing/2014/main" id="{696B3D81-D433-410F-A978-A2E91D3FF7FF}"/>
              </a:ext>
            </a:extLst>
          </p:cNvPr>
          <p:cNvCxnSpPr>
            <a:endCxn id="341" idx="1"/>
          </p:cNvCxnSpPr>
          <p:nvPr/>
        </p:nvCxnSpPr>
        <p:spPr bwMode="auto">
          <a:xfrm flipH="1">
            <a:off x="696957" y="2145184"/>
            <a:ext cx="239512" cy="983096"/>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2" name="TextBox 501">
            <a:extLst>
              <a:ext uri="{FF2B5EF4-FFF2-40B4-BE49-F238E27FC236}">
                <a16:creationId xmlns:a16="http://schemas.microsoft.com/office/drawing/2014/main" id="{36517B84-7DDA-464B-9AE1-E1C9ADD23ABE}"/>
              </a:ext>
            </a:extLst>
          </p:cNvPr>
          <p:cNvSpPr txBox="1"/>
          <p:nvPr/>
        </p:nvSpPr>
        <p:spPr bwMode="auto">
          <a:xfrm>
            <a:off x="9831855" y="2127752"/>
            <a:ext cx="493712"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800"/>
              </a:spcAft>
              <a:buClr>
                <a:schemeClr val="tx1"/>
              </a:buClr>
            </a:pPr>
            <a:r>
              <a:rPr lang="en-US" sz="1067" kern="0"/>
              <a:t>Master</a:t>
            </a:r>
          </a:p>
        </p:txBody>
      </p:sp>
    </p:spTree>
    <p:extLst>
      <p:ext uri="{BB962C8B-B14F-4D97-AF65-F5344CB8AC3E}">
        <p14:creationId xmlns:p14="http://schemas.microsoft.com/office/powerpoint/2010/main" val="1154723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7196D29-2C15-42F1-899C-699DA20095E0}"/>
              </a:ext>
            </a:extLst>
          </p:cNvPr>
          <p:cNvSpPr>
            <a:spLocks noGrp="1"/>
          </p:cNvSpPr>
          <p:nvPr>
            <p:ph type="body" sz="quarter" idx="15"/>
          </p:nvPr>
        </p:nvSpPr>
        <p:spPr>
          <a:xfrm>
            <a:off x="488071" y="2091119"/>
            <a:ext cx="3366175" cy="492443"/>
          </a:xfrm>
        </p:spPr>
        <p:txBody>
          <a:bodyPr/>
          <a:lstStyle/>
          <a:p>
            <a:r>
              <a:rPr lang="en-US"/>
              <a:t>Appendix</a:t>
            </a:r>
            <a:endParaRPr lang="en-GB"/>
          </a:p>
        </p:txBody>
      </p:sp>
      <p:pic>
        <p:nvPicPr>
          <p:cNvPr id="6" name="Picture Placeholder 5">
            <a:extLst>
              <a:ext uri="{FF2B5EF4-FFF2-40B4-BE49-F238E27FC236}">
                <a16:creationId xmlns:a16="http://schemas.microsoft.com/office/drawing/2014/main" id="{6E182857-B9AD-4765-9D31-8E0529A06407}"/>
              </a:ext>
            </a:extLst>
          </p:cNvPr>
          <p:cNvPicPr>
            <a:picLocks noGrp="1" noChangeAspect="1"/>
          </p:cNvPicPr>
          <p:nvPr>
            <p:ph type="pic" sz="quarter" idx="16"/>
          </p:nvPr>
        </p:nvPicPr>
        <p:blipFill>
          <a:blip r:embed="rId2"/>
          <a:srcRect l="10844" r="10844"/>
          <a:stretch>
            <a:fillRect/>
          </a:stretch>
        </p:blipFill>
        <p:spPr bwMode="gray"/>
      </p:pic>
      <p:sp>
        <p:nvSpPr>
          <p:cNvPr id="5" name="Rectangle 4">
            <a:extLst>
              <a:ext uri="{FF2B5EF4-FFF2-40B4-BE49-F238E27FC236}">
                <a16:creationId xmlns:a16="http://schemas.microsoft.com/office/drawing/2014/main" id="{7667631B-FCD3-43F2-A1C9-08C4E95D4003}"/>
              </a:ext>
            </a:extLst>
          </p:cNvPr>
          <p:cNvSpPr/>
          <p:nvPr/>
        </p:nvSpPr>
        <p:spPr>
          <a:xfrm>
            <a:off x="-713" y="7954"/>
            <a:ext cx="2183932" cy="276999"/>
          </a:xfrm>
          <a:prstGeom prst="rect">
            <a:avLst/>
          </a:prstGeom>
        </p:spPr>
        <p:txBody>
          <a:bodyPr wrap="square">
            <a:spAutoFit/>
          </a:bodyPr>
          <a:lstStyle/>
          <a:p>
            <a:r>
              <a:rPr lang="en-US" sz="1200" kern="0">
                <a:solidFill>
                  <a:srgbClr val="FF0000"/>
                </a:solidFill>
                <a:latin typeface="Arial"/>
                <a:ea typeface="ＭＳ Ｐゴシック"/>
                <a:cs typeface="Arial"/>
              </a:rPr>
              <a:t>Internal Use Only</a:t>
            </a:r>
            <a:endParaRPr lang="en-GB" sz="1200">
              <a:solidFill>
                <a:srgbClr val="FF0000"/>
              </a:solidFill>
            </a:endParaRPr>
          </a:p>
        </p:txBody>
      </p:sp>
    </p:spTree>
    <p:extLst>
      <p:ext uri="{BB962C8B-B14F-4D97-AF65-F5344CB8AC3E}">
        <p14:creationId xmlns:p14="http://schemas.microsoft.com/office/powerpoint/2010/main" val="2905865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078E8A4-79E8-48E9-9580-CD23F18B8E57}"/>
              </a:ext>
            </a:extLst>
          </p:cNvPr>
          <p:cNvSpPr txBox="1"/>
          <p:nvPr/>
        </p:nvSpPr>
        <p:spPr bwMode="auto">
          <a:xfrm>
            <a:off x="183965" y="960881"/>
            <a:ext cx="11824071" cy="5396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70" fontAlgn="base">
              <a:spcBef>
                <a:spcPct val="0"/>
              </a:spcBef>
              <a:spcAft>
                <a:spcPts val="800"/>
              </a:spcAft>
              <a:buClr>
                <a:srgbClr val="55555A"/>
              </a:buClr>
            </a:pPr>
            <a:r>
              <a:rPr lang="en-GB" sz="1600" b="1" kern="0">
                <a:solidFill>
                  <a:srgbClr val="55555A"/>
                </a:solidFill>
                <a:latin typeface="Calibri" panose="020F0502020204030204" pitchFamily="34" charset="0"/>
                <a:ea typeface="ＭＳ Ｐゴシック"/>
                <a:cs typeface="Calibri" panose="020F0502020204030204" pitchFamily="34" charset="0"/>
              </a:rPr>
              <a:t>Why Reltio? </a:t>
            </a:r>
            <a:r>
              <a:rPr lang="en-GB" sz="1600" kern="0">
                <a:solidFill>
                  <a:srgbClr val="55555A"/>
                </a:solidFill>
                <a:latin typeface="Calibri" panose="020F0502020204030204" pitchFamily="34" charset="0"/>
                <a:ea typeface="ＭＳ Ｐゴシック"/>
                <a:cs typeface="Calibri" panose="020F0502020204030204" pitchFamily="34" charset="0"/>
              </a:rPr>
              <a:t>A BCG study in 2020 identified gaps in National Grid’s control of data and recommended investment in a number of areas  including a master data solution.  </a:t>
            </a:r>
          </a:p>
          <a:p>
            <a:pPr marL="359991" lvl="3" defTabSz="1219170" fontAlgn="base">
              <a:spcBef>
                <a:spcPct val="0"/>
              </a:spcBef>
              <a:spcAft>
                <a:spcPts val="800"/>
              </a:spcAft>
              <a:buClr>
                <a:srgbClr val="00148C"/>
              </a:buClr>
            </a:pPr>
            <a:r>
              <a:rPr lang="en-GB" sz="1600" i="1" kern="0">
                <a:solidFill>
                  <a:srgbClr val="55555A"/>
                </a:solidFill>
                <a:latin typeface="Calibri" panose="020F0502020204030204" pitchFamily="34" charset="0"/>
                <a:ea typeface="ＭＳ Ｐゴシック"/>
                <a:cs typeface="Calibri" panose="020F0502020204030204" pitchFamily="34" charset="0"/>
              </a:rPr>
              <a:t>Reltio has been chosen as the master data management (MDM) solution following a market evaluation and sourcing exercise that looked at the following industry leading products: Reltio, Informatica, Enterworks, and Riversand.  Reltio achieved the best combined technical and security results, and with a price $2.6m lower than Informatica, was clearly the best economic choice</a:t>
            </a:r>
          </a:p>
          <a:p>
            <a:pPr defTabSz="1219170" fontAlgn="base">
              <a:spcBef>
                <a:spcPct val="0"/>
              </a:spcBef>
              <a:spcAft>
                <a:spcPts val="800"/>
              </a:spcAft>
              <a:buClr>
                <a:srgbClr val="55555A"/>
              </a:buClr>
            </a:pPr>
            <a:r>
              <a:rPr lang="en-GB" sz="1507" b="1" kern="0">
                <a:solidFill>
                  <a:srgbClr val="55555A"/>
                </a:solidFill>
                <a:latin typeface="Calibri" panose="020F0502020204030204" pitchFamily="34" charset="0"/>
                <a:ea typeface="ＭＳ Ｐゴシック"/>
                <a:cs typeface="Calibri" panose="020F0502020204030204" pitchFamily="34" charset="0"/>
              </a:rPr>
              <a:t>What are we going to buy? </a:t>
            </a:r>
            <a:r>
              <a:rPr lang="en-GB" sz="1507" kern="0">
                <a:solidFill>
                  <a:srgbClr val="55555A"/>
                </a:solidFill>
                <a:latin typeface="Calibri" panose="020F0502020204030204" pitchFamily="34" charset="0"/>
                <a:ea typeface="ＭＳ Ｐゴシック"/>
                <a:cs typeface="Calibri" panose="020F0502020204030204" pitchFamily="34" charset="0"/>
              </a:rPr>
              <a:t>National Grid is procuring a SaaS MDM solution that will connect data from multiple platforms to create and maintain consolidated master golden data. The system will be configured to support existing UK and US needs with plenty of room for growth. This includes licensing for all needed user roles, supporting Test, Development and Production instances for each of the US and UK. </a:t>
            </a:r>
          </a:p>
          <a:p>
            <a:pPr defTabSz="1219170" fontAlgn="base">
              <a:spcBef>
                <a:spcPct val="0"/>
              </a:spcBef>
              <a:spcAft>
                <a:spcPts val="800"/>
              </a:spcAft>
              <a:buClr>
                <a:srgbClr val="55555A"/>
              </a:buClr>
            </a:pPr>
            <a:r>
              <a:rPr lang="en-GB" sz="1600" b="1" kern="0">
                <a:solidFill>
                  <a:srgbClr val="55555A"/>
                </a:solidFill>
                <a:latin typeface="Calibri" panose="020F0502020204030204" pitchFamily="34" charset="0"/>
                <a:ea typeface="ＭＳ Ｐゴシック"/>
                <a:cs typeface="Calibri" panose="020F0502020204030204" pitchFamily="34" charset="0"/>
              </a:rPr>
              <a:t>Service: </a:t>
            </a:r>
            <a:r>
              <a:rPr lang="en-GB" sz="1600" kern="0">
                <a:solidFill>
                  <a:srgbClr val="55555A"/>
                </a:solidFill>
                <a:latin typeface="Calibri" panose="020F0502020204030204" pitchFamily="34" charset="0"/>
                <a:ea typeface="ＭＳ Ｐゴシック"/>
                <a:cs typeface="Calibri" panose="020F0502020204030204" pitchFamily="34" charset="0"/>
              </a:rPr>
              <a:t>The service provides 99.95% availability SLAs with service credits for failed SLAs.  Support covers both UK and US 9a-5p support</a:t>
            </a:r>
          </a:p>
          <a:p>
            <a:pPr defTabSz="1219170" fontAlgn="base">
              <a:spcBef>
                <a:spcPct val="0"/>
              </a:spcBef>
              <a:spcAft>
                <a:spcPts val="800"/>
              </a:spcAft>
              <a:buClr>
                <a:srgbClr val="55555A"/>
              </a:buClr>
            </a:pPr>
            <a:r>
              <a:rPr lang="en-GB" sz="1600" b="1" kern="0">
                <a:solidFill>
                  <a:srgbClr val="55555A"/>
                </a:solidFill>
                <a:latin typeface="Calibri" panose="020F0502020204030204" pitchFamily="34" charset="0"/>
                <a:ea typeface="ＭＳ Ｐゴシック"/>
                <a:cs typeface="Calibri" panose="020F0502020204030204" pitchFamily="34" charset="0"/>
              </a:rPr>
              <a:t>Disaster recovery: </a:t>
            </a:r>
            <a:r>
              <a:rPr lang="en-GB" sz="1600" kern="0">
                <a:solidFill>
                  <a:srgbClr val="55555A"/>
                </a:solidFill>
                <a:latin typeface="Calibri" panose="020F0502020204030204" pitchFamily="34" charset="0"/>
                <a:ea typeface="ＭＳ Ｐゴシック"/>
                <a:cs typeface="Calibri" panose="020F0502020204030204" pitchFamily="34" charset="0"/>
              </a:rPr>
              <a:t>Disaster recovery follows ISO 22301 standards, and provides for global redundancy with </a:t>
            </a:r>
            <a:r>
              <a:rPr lang="en-US" sz="1600" kern="0">
                <a:solidFill>
                  <a:srgbClr val="55555A"/>
                </a:solidFill>
                <a:latin typeface="Calibri" panose="020F0502020204030204" pitchFamily="34" charset="0"/>
                <a:ea typeface="ＭＳ Ｐゴシック"/>
                <a:cs typeface="Calibri" panose="020F0502020204030204" pitchFamily="34" charset="0"/>
              </a:rPr>
              <a:t>nodes across a minimum of three cloud zones, including multiple servers within a zone.  Data is replicated, load balanced and runs active-active across all zones enabling application and data resilience as well as improved scalability.  Reltio’s BCP plan is also ISO22301 compliant with processes that address application &amp; database outages, fires, pandemics, natural disasters &amp; data breaches. </a:t>
            </a:r>
            <a:endParaRPr lang="en-GB" sz="1600" b="1" kern="0">
              <a:solidFill>
                <a:srgbClr val="55555A"/>
              </a:solidFill>
              <a:latin typeface="Calibri" panose="020F0502020204030204" pitchFamily="34" charset="0"/>
              <a:ea typeface="ＭＳ Ｐゴシック"/>
              <a:cs typeface="Calibri" panose="020F0502020204030204" pitchFamily="34" charset="0"/>
            </a:endParaRPr>
          </a:p>
          <a:p>
            <a:pPr defTabSz="1219170" fontAlgn="base">
              <a:spcBef>
                <a:spcPct val="0"/>
              </a:spcBef>
              <a:spcAft>
                <a:spcPts val="800"/>
              </a:spcAft>
              <a:buClr>
                <a:srgbClr val="55555A"/>
              </a:buClr>
            </a:pPr>
            <a:r>
              <a:rPr lang="en-GB" sz="1507" b="1" kern="0">
                <a:solidFill>
                  <a:srgbClr val="55555A"/>
                </a:solidFill>
                <a:latin typeface="Calibri" panose="020F0502020204030204" pitchFamily="34" charset="0"/>
                <a:ea typeface="ＭＳ Ｐゴシック"/>
                <a:cs typeface="Calibri" panose="020F0502020204030204" pitchFamily="34" charset="0"/>
              </a:rPr>
              <a:t>Contract:</a:t>
            </a:r>
            <a:r>
              <a:rPr lang="en-GB" sz="1507" kern="0">
                <a:solidFill>
                  <a:srgbClr val="55555A"/>
                </a:solidFill>
                <a:latin typeface="Calibri" panose="020F0502020204030204" pitchFamily="34" charset="0"/>
                <a:ea typeface="ＭＳ Ｐゴシック"/>
                <a:cs typeface="Calibri" panose="020F0502020204030204" pitchFamily="34" charset="0"/>
              </a:rPr>
              <a:t> The terms represent a three year agreement and covers:</a:t>
            </a:r>
          </a:p>
          <a:p>
            <a:pPr marL="948576" lvl="6" indent="-228594" defTabSz="1219170" fontAlgn="base">
              <a:spcBef>
                <a:spcPct val="0"/>
              </a:spcBef>
              <a:buClr>
                <a:srgbClr val="00148C"/>
              </a:buClr>
              <a:buFont typeface="Arial" panose="020B0604020202020204" pitchFamily="34" charset="0"/>
              <a:buChar char="•"/>
            </a:pPr>
            <a:r>
              <a:rPr lang="en-GB" sz="1507" kern="0">
                <a:solidFill>
                  <a:srgbClr val="55555A"/>
                </a:solidFill>
                <a:latin typeface="Calibri" panose="020F0502020204030204" pitchFamily="34" charset="0"/>
                <a:ea typeface="ＭＳ Ｐゴシック"/>
                <a:cs typeface="Calibri" panose="020F0502020204030204" pitchFamily="34" charset="0"/>
              </a:rPr>
              <a:t>Termination for material breach / bankruptcy </a:t>
            </a:r>
          </a:p>
          <a:p>
            <a:pPr marL="948576" lvl="6" indent="-228594" defTabSz="1219170" fontAlgn="base">
              <a:spcBef>
                <a:spcPct val="0"/>
              </a:spcBef>
              <a:buClr>
                <a:srgbClr val="00148C"/>
              </a:buClr>
              <a:buFont typeface="Arial" panose="020B0604020202020204" pitchFamily="34" charset="0"/>
              <a:buChar char="•"/>
            </a:pPr>
            <a:r>
              <a:rPr lang="en-GB" sz="1507" kern="0">
                <a:solidFill>
                  <a:srgbClr val="55555A"/>
                </a:solidFill>
                <a:latin typeface="Calibri" panose="020F0502020204030204" pitchFamily="34" charset="0"/>
                <a:ea typeface="ＭＳ Ｐゴシック"/>
                <a:cs typeface="Calibri" panose="020F0502020204030204" pitchFamily="34" charset="0"/>
              </a:rPr>
              <a:t>Termination for convenience, with the possible responsibility for the full term contract</a:t>
            </a:r>
            <a:r>
              <a:rPr lang="en-US" sz="1507" kern="0">
                <a:solidFill>
                  <a:srgbClr val="55555A"/>
                </a:solidFill>
                <a:latin typeface="Calibri" panose="020F0502020204030204" pitchFamily="34" charset="0"/>
                <a:ea typeface="ＭＳ Ｐゴシック"/>
                <a:cs typeface="Calibri" panose="020F0502020204030204" pitchFamily="34" charset="0"/>
              </a:rPr>
              <a:t> price </a:t>
            </a:r>
            <a:endParaRPr lang="en-GB" sz="1507" kern="0">
              <a:solidFill>
                <a:srgbClr val="55555A"/>
              </a:solidFill>
              <a:latin typeface="Calibri" panose="020F0502020204030204" pitchFamily="34" charset="0"/>
              <a:ea typeface="ＭＳ Ｐゴシック"/>
              <a:cs typeface="Calibri" panose="020F0502020204030204" pitchFamily="34" charset="0"/>
            </a:endParaRPr>
          </a:p>
          <a:p>
            <a:pPr marL="948576" lvl="6" indent="-228594" defTabSz="1219170" fontAlgn="base">
              <a:spcBef>
                <a:spcPct val="0"/>
              </a:spcBef>
              <a:buClr>
                <a:srgbClr val="00148C"/>
              </a:buClr>
              <a:buFont typeface="Arial" panose="020B0604020202020204" pitchFamily="34" charset="0"/>
              <a:buChar char="•"/>
            </a:pPr>
            <a:r>
              <a:rPr lang="en-GB" sz="1507" kern="0">
                <a:solidFill>
                  <a:srgbClr val="55555A"/>
                </a:solidFill>
                <a:latin typeface="Calibri" panose="020F0502020204030204" pitchFamily="34" charset="0"/>
                <a:ea typeface="ＭＳ Ｐゴシック"/>
                <a:cs typeface="Calibri" panose="020F0502020204030204" pitchFamily="34" charset="0"/>
              </a:rPr>
              <a:t>Price $2.3m for 3 years (a $1m reduction negotiated against initial proposal) </a:t>
            </a:r>
          </a:p>
          <a:p>
            <a:pPr marL="948576" lvl="6" indent="-228594" defTabSz="1219170" fontAlgn="base">
              <a:spcBef>
                <a:spcPct val="0"/>
              </a:spcBef>
              <a:buClr>
                <a:srgbClr val="00148C"/>
              </a:buClr>
              <a:buFont typeface="Arial" panose="020B0604020202020204" pitchFamily="34" charset="0"/>
              <a:buChar char="•"/>
            </a:pPr>
            <a:r>
              <a:rPr lang="en-GB" sz="1507" kern="0">
                <a:solidFill>
                  <a:srgbClr val="55555A"/>
                </a:solidFill>
                <a:latin typeface="Calibri" panose="020F0502020204030204" pitchFamily="34" charset="0"/>
                <a:ea typeface="ＭＳ Ｐゴシック"/>
                <a:cs typeface="Calibri" panose="020F0502020204030204" pitchFamily="34" charset="0"/>
              </a:rPr>
              <a:t>Price increase capped at 4% for renewal beyond the 36 months </a:t>
            </a:r>
          </a:p>
          <a:p>
            <a:pPr marL="948576" lvl="6" indent="-228594" defTabSz="1219170" fontAlgn="base">
              <a:spcBef>
                <a:spcPct val="0"/>
              </a:spcBef>
              <a:buClr>
                <a:srgbClr val="00148C"/>
              </a:buClr>
              <a:buFont typeface="Arial" panose="020B0604020202020204" pitchFamily="34" charset="0"/>
              <a:buChar char="•"/>
            </a:pPr>
            <a:r>
              <a:rPr lang="en-GB" sz="1507" kern="0">
                <a:solidFill>
                  <a:srgbClr val="55555A"/>
                </a:solidFill>
                <a:latin typeface="Calibri" panose="020F0502020204030204" pitchFamily="34" charset="0"/>
                <a:ea typeface="ＭＳ Ｐゴシック"/>
                <a:cs typeface="Calibri" panose="020F0502020204030204" pitchFamily="34" charset="0"/>
              </a:rPr>
              <a:t>Contract negotiated but not signed    </a:t>
            </a:r>
          </a:p>
          <a:p>
            <a:pPr marL="0" lvl="6" defTabSz="1219170" fontAlgn="base">
              <a:spcBef>
                <a:spcPct val="0"/>
              </a:spcBef>
              <a:buClr>
                <a:srgbClr val="00148C"/>
              </a:buClr>
            </a:pPr>
            <a:endParaRPr lang="en-GB" sz="1507" i="1" kern="0">
              <a:solidFill>
                <a:srgbClr val="55555A"/>
              </a:solidFill>
              <a:latin typeface="Calibri" panose="020F0502020204030204" pitchFamily="34" charset="0"/>
              <a:ea typeface="ＭＳ Ｐゴシック"/>
              <a:cs typeface="Calibri" panose="020F0502020204030204" pitchFamily="34" charset="0"/>
            </a:endParaRPr>
          </a:p>
        </p:txBody>
      </p:sp>
      <p:sp>
        <p:nvSpPr>
          <p:cNvPr id="3" name="Rectangle 2"/>
          <p:cNvSpPr/>
          <p:nvPr/>
        </p:nvSpPr>
        <p:spPr>
          <a:xfrm>
            <a:off x="112389" y="125679"/>
            <a:ext cx="8621271" cy="502766"/>
          </a:xfrm>
          <a:prstGeom prst="rect">
            <a:avLst/>
          </a:prstGeom>
        </p:spPr>
        <p:txBody>
          <a:bodyPr wrap="none">
            <a:spAutoFit/>
          </a:bodyPr>
          <a:lstStyle/>
          <a:p>
            <a:pPr defTabSz="1219170" fontAlgn="base">
              <a:spcBef>
                <a:spcPct val="0"/>
              </a:spcBef>
              <a:spcAft>
                <a:spcPts val="800"/>
              </a:spcAft>
              <a:buClr>
                <a:srgbClr val="55555A"/>
              </a:buClr>
            </a:pPr>
            <a:r>
              <a:rPr lang="en-GB" sz="2667" b="1" kern="0">
                <a:solidFill>
                  <a:srgbClr val="2D139D"/>
                </a:solidFill>
                <a:latin typeface="Arial"/>
                <a:ea typeface="ＭＳ Ｐゴシック"/>
              </a:rPr>
              <a:t>Reltio Contract for Master Data Management SaaS   </a:t>
            </a:r>
          </a:p>
        </p:txBody>
      </p:sp>
    </p:spTree>
    <p:extLst>
      <p:ext uri="{BB962C8B-B14F-4D97-AF65-F5344CB8AC3E}">
        <p14:creationId xmlns:p14="http://schemas.microsoft.com/office/powerpoint/2010/main" val="2754001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gtfSuvqSLu4ebUrAMz.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OSaKwkYR4GTnWOaOLt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n7DtlTNS4.psaVM1VS4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OAHH1g1Stmxu.glsE.I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93OKrlh09NdSNKWbeIg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Z_e.E3yT42oFfBlHr8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IFnPCGpS4q2RXSu1Esz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cCfKIAuSz2Mcehxx5.DfA"/>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AiTy6xiOIMOVtaI0U9IWA"/>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5.NVOOvRO6SBH3ZrUoD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S NG_2018 PPT_Energy Lines Template 16x9 [Read-Only]" id="{4657108C-CAD3-44AC-B13C-CD074A2E51E8}" vid="{35BB5C37-5BE8-43BF-9925-D45D04A5B4D7}"/>
    </a:ext>
  </a:extLst>
</a:theme>
</file>

<file path=ppt/theme/theme2.xml><?xml version="1.0" encoding="utf-8"?>
<a:theme xmlns:a="http://schemas.openxmlformats.org/drawingml/2006/main" name="1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solidFill>
          <a:srgbClr val="00148C"/>
        </a:solidFill>
        <a:ln w="9525" cap="flat" cmpd="sng" algn="ctr">
          <a:solidFill>
            <a:sysClr val="window" lastClr="FFFFFF">
              <a:lumMod val="50000"/>
            </a:sys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S NG_2018 PPT_Energy Lines Template 16x9 [Read-Only]" id="{4657108C-CAD3-44AC-B13C-CD074A2E51E8}" vid="{35BB5C37-5BE8-43BF-9925-D45D04A5B4D7}"/>
    </a:ext>
  </a:extLst>
</a:theme>
</file>

<file path=ppt/theme/theme3.xml><?xml version="1.0" encoding="utf-8"?>
<a:theme xmlns:a="http://schemas.openxmlformats.org/drawingml/2006/main" name="2_Titles">
  <a:themeElements>
    <a:clrScheme name="ACN_Standart_2018">
      <a:dk1>
        <a:sysClr val="windowText" lastClr="000000"/>
      </a:dk1>
      <a:lt1>
        <a:sysClr val="window" lastClr="FFFFFF"/>
      </a:lt1>
      <a:dk2>
        <a:srgbClr val="BEBEBE"/>
      </a:dk2>
      <a:lt2>
        <a:srgbClr val="5A5A5A"/>
      </a:lt2>
      <a:accent1>
        <a:srgbClr val="A100FF"/>
      </a:accent1>
      <a:accent2>
        <a:srgbClr val="7500C0"/>
      </a:accent2>
      <a:accent3>
        <a:srgbClr val="460073"/>
      </a:accent3>
      <a:accent4>
        <a:srgbClr val="00BAFF"/>
      </a:accent4>
      <a:accent5>
        <a:srgbClr val="008EFF"/>
      </a:accent5>
      <a:accent6>
        <a:srgbClr val="004DFF"/>
      </a:accent6>
      <a:hlink>
        <a:srgbClr val="2800FF"/>
      </a:hlink>
      <a:folHlink>
        <a:srgbClr val="7E00FF"/>
      </a:folHlink>
    </a:clrScheme>
    <a:fontScheme name="Benutzerdefiniert 11">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78550A33-A983-4183-922A-851E5C78E480}"/>
    </a:ext>
  </a:extLst>
</a:theme>
</file>

<file path=ppt/theme/theme4.xml><?xml version="1.0" encoding="utf-8"?>
<a:theme xmlns:a="http://schemas.openxmlformats.org/drawingml/2006/main" name="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5" id="{4007F9DA-96E2-4AF0-BDD4-D195919EC94B}" vid="{DE9766F9-014C-4693-AE2B-35F1D353A358}"/>
    </a:ext>
  </a:extLst>
</a:theme>
</file>

<file path=ppt/theme/theme5.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16x9 2018" id="{8DB84FBE-EA52-ED4D-A583-A25345CAC623}" vid="{88F07E53-A129-264F-8CD1-4B8FC20218E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D0F478B68CCB418629D5A3D5ECB678" ma:contentTypeVersion="13" ma:contentTypeDescription="Create a new document." ma:contentTypeScope="" ma:versionID="0cdef9792d70593cc0249c268eb6251e">
  <xsd:schema xmlns:xsd="http://www.w3.org/2001/XMLSchema" xmlns:xs="http://www.w3.org/2001/XMLSchema" xmlns:p="http://schemas.microsoft.com/office/2006/metadata/properties" xmlns:ns3="2fb88c42-9484-45db-b1a7-c717f8961fa6" xmlns:ns4="d04553ff-5444-4dd5-ba90-cf9ec227a264" targetNamespace="http://schemas.microsoft.com/office/2006/metadata/properties" ma:root="true" ma:fieldsID="b24b326b9ed5cbe12549767b6286b610" ns3:_="" ns4:_="">
    <xsd:import namespace="2fb88c42-9484-45db-b1a7-c717f8961fa6"/>
    <xsd:import namespace="d04553ff-5444-4dd5-ba90-cf9ec227a26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b88c42-9484-45db-b1a7-c717f8961f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4553ff-5444-4dd5-ba90-cf9ec227a26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04553ff-5444-4dd5-ba90-cf9ec227a264">
      <UserInfo>
        <DisplayName>Tripathi, Bharat</DisplayName>
        <AccountId>13</AccountId>
        <AccountType/>
      </UserInfo>
      <UserInfo>
        <DisplayName>Senter, Daniel</DisplayName>
        <AccountId>10</AccountId>
        <AccountType/>
      </UserInfo>
      <UserInfo>
        <DisplayName>Ajwaliya, Nishit</DisplayName>
        <AccountId>14</AccountId>
        <AccountType/>
      </UserInfo>
    </SharedWithUsers>
  </documentManagement>
</p:properties>
</file>

<file path=customXml/itemProps1.xml><?xml version="1.0" encoding="utf-8"?>
<ds:datastoreItem xmlns:ds="http://schemas.openxmlformats.org/officeDocument/2006/customXml" ds:itemID="{533C3CF0-63D8-4747-B6CC-D6F43D28AE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b88c42-9484-45db-b1a7-c717f8961fa6"/>
    <ds:schemaRef ds:uri="d04553ff-5444-4dd5-ba90-cf9ec227a2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5926C6A-B08D-43FA-A71A-640E51B80931}">
  <ds:schemaRefs>
    <ds:schemaRef ds:uri="http://schemas.microsoft.com/sharepoint/v3/contenttype/forms"/>
  </ds:schemaRefs>
</ds:datastoreItem>
</file>

<file path=customXml/itemProps3.xml><?xml version="1.0" encoding="utf-8"?>
<ds:datastoreItem xmlns:ds="http://schemas.openxmlformats.org/officeDocument/2006/customXml" ds:itemID="{EF4F00D4-A9B9-4ED6-8D29-9E89EF72FF04}">
  <ds:schemaRefs>
    <ds:schemaRef ds:uri="http://purl.org/dc/elements/1.1/"/>
    <ds:schemaRef ds:uri="http://schemas.microsoft.com/office/2006/metadata/properties"/>
    <ds:schemaRef ds:uri="2fb88c42-9484-45db-b1a7-c717f8961fa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04553ff-5444-4dd5-ba90-cf9ec227a26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72</TotalTime>
  <Words>2443</Words>
  <Application>Microsoft Office PowerPoint</Application>
  <PresentationFormat>Widescreen</PresentationFormat>
  <Paragraphs>392</Paragraphs>
  <Slides>17</Slides>
  <Notes>9</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2</vt:i4>
      </vt:variant>
      <vt:variant>
        <vt:lpstr>Slide Titles</vt:lpstr>
      </vt:variant>
      <vt:variant>
        <vt:i4>17</vt:i4>
      </vt:variant>
    </vt:vector>
  </HeadingPairs>
  <TitlesOfParts>
    <vt:vector size="30" baseType="lpstr">
      <vt:lpstr>Arial</vt:lpstr>
      <vt:lpstr>Arial Black</vt:lpstr>
      <vt:lpstr>Calibri</vt:lpstr>
      <vt:lpstr>Graphik</vt:lpstr>
      <vt:lpstr>Graphik Black</vt:lpstr>
      <vt:lpstr>Symbol</vt:lpstr>
      <vt:lpstr>2_US NG_2018 PPT__EnergyLines Template 16x9</vt:lpstr>
      <vt:lpstr>1_US NG_2018 PPT__EnergyLines Template 16x9</vt:lpstr>
      <vt:lpstr>2_Titles</vt:lpstr>
      <vt:lpstr>Content Layouts</vt:lpstr>
      <vt:lpstr>NG_PPT_16x9_Generic_template-blue</vt:lpstr>
      <vt:lpstr>think-cell Folie</vt:lpstr>
      <vt:lpstr>think-cell Slide</vt:lpstr>
      <vt:lpstr>Workforce  Systems of Record</vt:lpstr>
      <vt:lpstr>Executive Summary</vt:lpstr>
      <vt:lpstr>Master Data Management</vt:lpstr>
      <vt:lpstr>Data Quality Management</vt:lpstr>
      <vt:lpstr>HR versus Finance Headcount Differences</vt:lpstr>
      <vt:lpstr>Workforce Data Improvements</vt:lpstr>
      <vt:lpstr>How MDM helps Workforce data domain?</vt:lpstr>
      <vt:lpstr>PowerPoint Presentation</vt:lpstr>
      <vt:lpstr>PowerPoint Presentation</vt:lpstr>
      <vt:lpstr>How MDM helps Workforce data domain?</vt:lpstr>
      <vt:lpstr>What’s been done</vt:lpstr>
      <vt:lpstr>Workforce Data Domain Findings</vt:lpstr>
      <vt:lpstr>Future State Architecture</vt:lpstr>
      <vt:lpstr>Future State Architecture</vt:lpstr>
      <vt:lpstr>Workforce Data Domain Proposed Roadmap (Draf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ssessment  Summary Pack</dc:title>
  <dc:creator>Tim Reynolds</dc:creator>
  <cp:lastModifiedBy>Ajwaliya, Nishit</cp:lastModifiedBy>
  <cp:revision>3</cp:revision>
  <dcterms:created xsi:type="dcterms:W3CDTF">2020-07-13T09:08:15Z</dcterms:created>
  <dcterms:modified xsi:type="dcterms:W3CDTF">2021-08-06T20:2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0F478B68CCB418629D5A3D5ECB678</vt:lpwstr>
  </property>
</Properties>
</file>